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  <p:sldMasterId id="2147483787" r:id="rId2"/>
  </p:sldMasterIdLst>
  <p:notesMasterIdLst>
    <p:notesMasterId r:id="rId17"/>
  </p:notesMasterIdLst>
  <p:sldIdLst>
    <p:sldId id="256" r:id="rId3"/>
    <p:sldId id="257" r:id="rId4"/>
    <p:sldId id="258" r:id="rId5"/>
    <p:sldId id="262" r:id="rId6"/>
    <p:sldId id="260" r:id="rId7"/>
    <p:sldId id="263" r:id="rId8"/>
    <p:sldId id="273" r:id="rId9"/>
    <p:sldId id="274" r:id="rId10"/>
    <p:sldId id="275" r:id="rId11"/>
    <p:sldId id="276" r:id="rId12"/>
    <p:sldId id="261" r:id="rId13"/>
    <p:sldId id="277" r:id="rId14"/>
    <p:sldId id="264" r:id="rId15"/>
    <p:sldId id="278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8AC0DF-F9D9-413B-9337-E82994226C29}" type="doc">
      <dgm:prSet loTypeId="urn:microsoft.com/office/officeart/2005/8/layout/lProcess2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0ED0106-F132-47FC-B610-4BD09664513A}">
      <dgm:prSet phldrT="[Text]"/>
      <dgm:spPr/>
      <dgm:t>
        <a:bodyPr/>
        <a:lstStyle/>
        <a:p>
          <a:r>
            <a:rPr lang="en-IN" dirty="0"/>
            <a:t>Sweden</a:t>
          </a:r>
        </a:p>
      </dgm:t>
    </dgm:pt>
    <dgm:pt modelId="{628E8799-434B-4AAB-B85E-BEE0DBEA2C19}" type="parTrans" cxnId="{5198D757-AE09-4683-A5C9-CC74A1BA041C}">
      <dgm:prSet/>
      <dgm:spPr/>
      <dgm:t>
        <a:bodyPr/>
        <a:lstStyle/>
        <a:p>
          <a:endParaRPr lang="en-IN"/>
        </a:p>
      </dgm:t>
    </dgm:pt>
    <dgm:pt modelId="{E61FF70D-E9C3-4133-8146-126ADA35F9D5}" type="sibTrans" cxnId="{5198D757-AE09-4683-A5C9-CC74A1BA041C}">
      <dgm:prSet/>
      <dgm:spPr/>
      <dgm:t>
        <a:bodyPr/>
        <a:lstStyle/>
        <a:p>
          <a:endParaRPr lang="en-IN"/>
        </a:p>
      </dgm:t>
    </dgm:pt>
    <dgm:pt modelId="{E7C71EF0-0B2C-4739-88F6-3BCC25D24D77}">
      <dgm:prSet phldrT="[Text]"/>
      <dgm:spPr/>
      <dgm:t>
        <a:bodyPr/>
        <a:lstStyle/>
        <a:p>
          <a:r>
            <a:rPr lang="en-IN" b="1" dirty="0"/>
            <a:t>Persona Analysis:</a:t>
          </a:r>
          <a:br>
            <a:rPr lang="en-IN" b="1" dirty="0"/>
          </a:br>
          <a:r>
            <a:rPr lang="en-IN" dirty="0"/>
            <a:t>Tech-Savvy Educators</a:t>
          </a:r>
        </a:p>
      </dgm:t>
    </dgm:pt>
    <dgm:pt modelId="{FBC8E8B7-916F-42F3-B18D-BA699C99089B}" type="parTrans" cxnId="{EDC6BB6A-606F-40C1-AD28-8E6928D959C5}">
      <dgm:prSet/>
      <dgm:spPr/>
      <dgm:t>
        <a:bodyPr/>
        <a:lstStyle/>
        <a:p>
          <a:endParaRPr lang="en-IN"/>
        </a:p>
      </dgm:t>
    </dgm:pt>
    <dgm:pt modelId="{F5E30904-48A4-418F-B875-FCF09BC338C9}" type="sibTrans" cxnId="{EDC6BB6A-606F-40C1-AD28-8E6928D959C5}">
      <dgm:prSet/>
      <dgm:spPr/>
      <dgm:t>
        <a:bodyPr/>
        <a:lstStyle/>
        <a:p>
          <a:endParaRPr lang="en-IN"/>
        </a:p>
      </dgm:t>
    </dgm:pt>
    <dgm:pt modelId="{BB24CF9E-8706-40C3-AFAB-FA16D46C8E58}">
      <dgm:prSet phldrT="[Text]"/>
      <dgm:spPr/>
      <dgm:t>
        <a:bodyPr/>
        <a:lstStyle/>
        <a:p>
          <a:r>
            <a:rPr lang="en-IN" b="1" dirty="0"/>
            <a:t>Buying Cycle Insights:</a:t>
          </a:r>
          <a:br>
            <a:rPr lang="en-IN" b="1" dirty="0"/>
          </a:br>
          <a:r>
            <a:rPr lang="en-US" dirty="0"/>
            <a:t>Focus on long-term value and impact on student learning outcomes.</a:t>
          </a:r>
        </a:p>
      </dgm:t>
    </dgm:pt>
    <dgm:pt modelId="{3435F41A-1D4F-4717-9408-B99FE6DEC508}" type="parTrans" cxnId="{350D468C-415E-47BF-AECA-C8218AB49BC5}">
      <dgm:prSet/>
      <dgm:spPr/>
      <dgm:t>
        <a:bodyPr/>
        <a:lstStyle/>
        <a:p>
          <a:endParaRPr lang="en-IN"/>
        </a:p>
      </dgm:t>
    </dgm:pt>
    <dgm:pt modelId="{BE4C718D-34D9-4A8C-B11A-8DAAE9C6C852}" type="sibTrans" cxnId="{350D468C-415E-47BF-AECA-C8218AB49BC5}">
      <dgm:prSet/>
      <dgm:spPr/>
      <dgm:t>
        <a:bodyPr/>
        <a:lstStyle/>
        <a:p>
          <a:endParaRPr lang="en-IN"/>
        </a:p>
      </dgm:t>
    </dgm:pt>
    <dgm:pt modelId="{FEA593A2-6ABB-42D8-8F50-53A35D846038}">
      <dgm:prSet phldrT="[Text]"/>
      <dgm:spPr/>
      <dgm:t>
        <a:bodyPr/>
        <a:lstStyle/>
        <a:p>
          <a:r>
            <a:rPr lang="en-IN" dirty="0"/>
            <a:t>Norway</a:t>
          </a:r>
        </a:p>
      </dgm:t>
    </dgm:pt>
    <dgm:pt modelId="{B3FBF1F8-A350-4D60-B105-412061E01D01}" type="parTrans" cxnId="{D21B6C9D-8C0A-4522-98F9-B036D7FEB96F}">
      <dgm:prSet/>
      <dgm:spPr/>
      <dgm:t>
        <a:bodyPr/>
        <a:lstStyle/>
        <a:p>
          <a:endParaRPr lang="en-IN"/>
        </a:p>
      </dgm:t>
    </dgm:pt>
    <dgm:pt modelId="{6A86AB38-4D6D-4BCD-8DEB-4BEA16952706}" type="sibTrans" cxnId="{D21B6C9D-8C0A-4522-98F9-B036D7FEB96F}">
      <dgm:prSet/>
      <dgm:spPr/>
      <dgm:t>
        <a:bodyPr/>
        <a:lstStyle/>
        <a:p>
          <a:endParaRPr lang="en-IN"/>
        </a:p>
      </dgm:t>
    </dgm:pt>
    <dgm:pt modelId="{2AC9F402-80F6-4831-BAA5-C9AB54F37EBF}">
      <dgm:prSet phldrT="[Text]"/>
      <dgm:spPr/>
      <dgm:t>
        <a:bodyPr/>
        <a:lstStyle/>
        <a:p>
          <a:r>
            <a:rPr lang="en-IN" b="1" dirty="0"/>
            <a:t>Persona Analysis:</a:t>
          </a:r>
          <a:br>
            <a:rPr lang="en-IN" b="1" dirty="0"/>
          </a:br>
          <a:r>
            <a:rPr lang="en-IN" dirty="0"/>
            <a:t>Visual Learners</a:t>
          </a:r>
        </a:p>
      </dgm:t>
    </dgm:pt>
    <dgm:pt modelId="{195FBC64-70E3-431D-9940-824C56B592FF}" type="parTrans" cxnId="{385AA409-55EC-44AC-B180-6E3CB595A93F}">
      <dgm:prSet/>
      <dgm:spPr/>
      <dgm:t>
        <a:bodyPr/>
        <a:lstStyle/>
        <a:p>
          <a:endParaRPr lang="en-IN"/>
        </a:p>
      </dgm:t>
    </dgm:pt>
    <dgm:pt modelId="{3F10B524-BB06-4193-89C9-CD4C70EF916B}" type="sibTrans" cxnId="{385AA409-55EC-44AC-B180-6E3CB595A93F}">
      <dgm:prSet/>
      <dgm:spPr/>
      <dgm:t>
        <a:bodyPr/>
        <a:lstStyle/>
        <a:p>
          <a:endParaRPr lang="en-IN"/>
        </a:p>
      </dgm:t>
    </dgm:pt>
    <dgm:pt modelId="{D2E1926A-002C-4CB0-8E97-59EFE44DF68E}">
      <dgm:prSet phldrT="[Text]"/>
      <dgm:spPr/>
      <dgm:t>
        <a:bodyPr/>
        <a:lstStyle/>
        <a:p>
          <a:r>
            <a:rPr lang="en-IN" dirty="0"/>
            <a:t>Finland</a:t>
          </a:r>
        </a:p>
      </dgm:t>
    </dgm:pt>
    <dgm:pt modelId="{C9339F38-0811-4609-859F-B0FAB7AF3FC9}" type="parTrans" cxnId="{46B94107-8F6F-4CFC-9244-0ABB0990B761}">
      <dgm:prSet/>
      <dgm:spPr/>
      <dgm:t>
        <a:bodyPr/>
        <a:lstStyle/>
        <a:p>
          <a:endParaRPr lang="en-IN"/>
        </a:p>
      </dgm:t>
    </dgm:pt>
    <dgm:pt modelId="{09C6B53C-FF19-4A40-BD11-778DF77114DF}" type="sibTrans" cxnId="{46B94107-8F6F-4CFC-9244-0ABB0990B761}">
      <dgm:prSet/>
      <dgm:spPr/>
      <dgm:t>
        <a:bodyPr/>
        <a:lstStyle/>
        <a:p>
          <a:endParaRPr lang="en-IN"/>
        </a:p>
      </dgm:t>
    </dgm:pt>
    <dgm:pt modelId="{CF522E03-040C-41DB-91E9-9499AF5B298E}">
      <dgm:prSet phldrT="[Text]"/>
      <dgm:spPr/>
      <dgm:t>
        <a:bodyPr/>
        <a:lstStyle/>
        <a:p>
          <a:r>
            <a:rPr lang="en-IN" b="1" dirty="0"/>
            <a:t>Persona Analysis</a:t>
          </a:r>
          <a:r>
            <a:rPr lang="en-IN" dirty="0"/>
            <a:t>:</a:t>
          </a:r>
          <a:br>
            <a:rPr lang="en-IN" dirty="0"/>
          </a:br>
          <a:r>
            <a:rPr lang="en-IN" dirty="0"/>
            <a:t>Long-Term Planners</a:t>
          </a:r>
        </a:p>
      </dgm:t>
    </dgm:pt>
    <dgm:pt modelId="{D4EAC626-9F6D-4F01-A49C-1DBBC71F8D3A}" type="parTrans" cxnId="{11BFFEF2-B935-435F-A901-3EE491395D58}">
      <dgm:prSet/>
      <dgm:spPr/>
      <dgm:t>
        <a:bodyPr/>
        <a:lstStyle/>
        <a:p>
          <a:endParaRPr lang="en-IN"/>
        </a:p>
      </dgm:t>
    </dgm:pt>
    <dgm:pt modelId="{628FCFB2-4623-4720-BDFB-38F24B241293}" type="sibTrans" cxnId="{11BFFEF2-B935-435F-A901-3EE491395D58}">
      <dgm:prSet/>
      <dgm:spPr/>
      <dgm:t>
        <a:bodyPr/>
        <a:lstStyle/>
        <a:p>
          <a:endParaRPr lang="en-IN"/>
        </a:p>
      </dgm:t>
    </dgm:pt>
    <dgm:pt modelId="{013C3896-BEB0-4490-810E-1E9B1A881BE0}">
      <dgm:prSet phldrT="[Text]"/>
      <dgm:spPr/>
      <dgm:t>
        <a:bodyPr/>
        <a:lstStyle/>
        <a:p>
          <a:r>
            <a:rPr lang="en-IN" b="1" dirty="0"/>
            <a:t>Decision Makers and Influencers:</a:t>
          </a:r>
          <a:br>
            <a:rPr lang="en-IN" b="1" dirty="0"/>
          </a:br>
          <a:r>
            <a:rPr lang="en-US" dirty="0"/>
            <a:t>School Principals and Tech Coordinators</a:t>
          </a:r>
        </a:p>
      </dgm:t>
    </dgm:pt>
    <dgm:pt modelId="{C2FA45BB-A6B4-440A-B899-DB3FF6D28E52}" type="parTrans" cxnId="{47C96F5B-F544-4D56-8DAD-010F7D8A4D56}">
      <dgm:prSet/>
      <dgm:spPr/>
      <dgm:t>
        <a:bodyPr/>
        <a:lstStyle/>
        <a:p>
          <a:endParaRPr lang="en-IN"/>
        </a:p>
      </dgm:t>
    </dgm:pt>
    <dgm:pt modelId="{F58BBC06-6305-45B5-8469-0FFC3C12431C}" type="sibTrans" cxnId="{47C96F5B-F544-4D56-8DAD-010F7D8A4D56}">
      <dgm:prSet/>
      <dgm:spPr/>
      <dgm:t>
        <a:bodyPr/>
        <a:lstStyle/>
        <a:p>
          <a:endParaRPr lang="en-IN"/>
        </a:p>
      </dgm:t>
    </dgm:pt>
    <dgm:pt modelId="{B91F52B4-C75A-4F0E-96AB-1035F2768BF2}">
      <dgm:prSet phldrT="[Text]"/>
      <dgm:spPr/>
      <dgm:t>
        <a:bodyPr/>
        <a:lstStyle/>
        <a:p>
          <a:r>
            <a:rPr lang="en-IN" b="1" dirty="0"/>
            <a:t>Buying Cycle Insights</a:t>
          </a:r>
          <a:r>
            <a:rPr lang="en-IN" dirty="0"/>
            <a:t>:</a:t>
          </a:r>
          <a:br>
            <a:rPr lang="en-IN" dirty="0"/>
          </a:br>
          <a:r>
            <a:rPr lang="en-US" dirty="0"/>
            <a:t>Relatively shorter buying cycle as students often make quick decisions based on their preferences.</a:t>
          </a:r>
        </a:p>
      </dgm:t>
    </dgm:pt>
    <dgm:pt modelId="{0BF711A5-D943-4ED8-8420-AD8A51D1FF43}" type="parTrans" cxnId="{DBD033CF-EA64-4A9A-871A-FB165184200B}">
      <dgm:prSet/>
      <dgm:spPr/>
      <dgm:t>
        <a:bodyPr/>
        <a:lstStyle/>
        <a:p>
          <a:endParaRPr lang="en-IN"/>
        </a:p>
      </dgm:t>
    </dgm:pt>
    <dgm:pt modelId="{6FC35173-2E52-49EB-B4E9-7E4CAA007EA3}" type="sibTrans" cxnId="{DBD033CF-EA64-4A9A-871A-FB165184200B}">
      <dgm:prSet/>
      <dgm:spPr/>
      <dgm:t>
        <a:bodyPr/>
        <a:lstStyle/>
        <a:p>
          <a:endParaRPr lang="en-IN"/>
        </a:p>
      </dgm:t>
    </dgm:pt>
    <dgm:pt modelId="{8CE61FF1-A62D-4CB2-BAD6-C9322A88DC0F}">
      <dgm:prSet phldrT="[Text]"/>
      <dgm:spPr/>
      <dgm:t>
        <a:bodyPr/>
        <a:lstStyle/>
        <a:p>
          <a:r>
            <a:rPr lang="en-IN" b="1" dirty="0"/>
            <a:t>Decision Makers and Influencers:</a:t>
          </a:r>
          <a:br>
            <a:rPr lang="en-IN" b="1" dirty="0"/>
          </a:br>
          <a:r>
            <a:rPr lang="en-IN" dirty="0"/>
            <a:t>Educators and Teachers</a:t>
          </a:r>
          <a:endParaRPr lang="en-US" dirty="0"/>
        </a:p>
      </dgm:t>
    </dgm:pt>
    <dgm:pt modelId="{C209BED9-DAA5-482D-A956-4E21A31C62EA}" type="parTrans" cxnId="{498FD1E6-8AA1-47CA-B880-EEF4BD95B2FA}">
      <dgm:prSet/>
      <dgm:spPr/>
      <dgm:t>
        <a:bodyPr/>
        <a:lstStyle/>
        <a:p>
          <a:endParaRPr lang="en-IN"/>
        </a:p>
      </dgm:t>
    </dgm:pt>
    <dgm:pt modelId="{81EFF0BA-52A4-4B1D-883A-7DC0BDE6CAA1}" type="sibTrans" cxnId="{498FD1E6-8AA1-47CA-B880-EEF4BD95B2FA}">
      <dgm:prSet/>
      <dgm:spPr/>
      <dgm:t>
        <a:bodyPr/>
        <a:lstStyle/>
        <a:p>
          <a:endParaRPr lang="en-IN"/>
        </a:p>
      </dgm:t>
    </dgm:pt>
    <dgm:pt modelId="{C216C149-7AC1-4AA4-A656-37B23EA54192}">
      <dgm:prSet phldrT="[Text]"/>
      <dgm:spPr/>
      <dgm:t>
        <a:bodyPr/>
        <a:lstStyle/>
        <a:p>
          <a:r>
            <a:rPr lang="en-IN" b="1" dirty="0"/>
            <a:t>Buying Cycle Insights:</a:t>
          </a:r>
          <a:br>
            <a:rPr lang="en-IN" b="1" dirty="0"/>
          </a:br>
          <a:r>
            <a:rPr lang="en-US" dirty="0"/>
            <a:t>Longer buying cycle due to thorough evaluation of alignment with curriculum goals.</a:t>
          </a:r>
        </a:p>
      </dgm:t>
    </dgm:pt>
    <dgm:pt modelId="{EBBBEEA8-4D84-4024-8240-A3D5F8A8F70D}" type="parTrans" cxnId="{B6FA05C8-18EB-43A0-9D0B-FE2E281EE6AC}">
      <dgm:prSet/>
      <dgm:spPr/>
      <dgm:t>
        <a:bodyPr/>
        <a:lstStyle/>
        <a:p>
          <a:endParaRPr lang="en-IN"/>
        </a:p>
      </dgm:t>
    </dgm:pt>
    <dgm:pt modelId="{7420FD82-078A-4772-B942-0056686033EA}" type="sibTrans" cxnId="{B6FA05C8-18EB-43A0-9D0B-FE2E281EE6AC}">
      <dgm:prSet/>
      <dgm:spPr/>
      <dgm:t>
        <a:bodyPr/>
        <a:lstStyle/>
        <a:p>
          <a:endParaRPr lang="en-IN"/>
        </a:p>
      </dgm:t>
    </dgm:pt>
    <dgm:pt modelId="{3D1D6F8F-1249-4B83-BAA7-4932AE2CF57E}">
      <dgm:prSet phldrT="[Text]"/>
      <dgm:spPr/>
      <dgm:t>
        <a:bodyPr/>
        <a:lstStyle/>
        <a:p>
          <a:r>
            <a:rPr lang="en-IN" b="1" dirty="0"/>
            <a:t>Decision Makers and Influencers:</a:t>
          </a:r>
          <a:br>
            <a:rPr lang="en-IN" dirty="0"/>
          </a:br>
          <a:r>
            <a:rPr lang="en-US" dirty="0"/>
            <a:t>Curriculum Planners and Educational Boards</a:t>
          </a:r>
        </a:p>
      </dgm:t>
    </dgm:pt>
    <dgm:pt modelId="{4BE127A2-C411-4B0D-8969-D62755802AC2}" type="parTrans" cxnId="{7DBA32A4-B4C4-44A8-B0DF-17AD2240A578}">
      <dgm:prSet/>
      <dgm:spPr/>
      <dgm:t>
        <a:bodyPr/>
        <a:lstStyle/>
        <a:p>
          <a:endParaRPr lang="en-IN"/>
        </a:p>
      </dgm:t>
    </dgm:pt>
    <dgm:pt modelId="{301586FC-4E89-4F24-847D-CE6EA3ADD919}" type="sibTrans" cxnId="{7DBA32A4-B4C4-44A8-B0DF-17AD2240A578}">
      <dgm:prSet/>
      <dgm:spPr/>
      <dgm:t>
        <a:bodyPr/>
        <a:lstStyle/>
        <a:p>
          <a:endParaRPr lang="en-IN"/>
        </a:p>
      </dgm:t>
    </dgm:pt>
    <dgm:pt modelId="{0590DF3B-92E1-4CCA-A390-7AEC2FDC7AEA}">
      <dgm:prSet phldrT="[Text]"/>
      <dgm:spPr/>
      <dgm:t>
        <a:bodyPr/>
        <a:lstStyle/>
        <a:p>
          <a:r>
            <a:rPr lang="en-IN" b="1" dirty="0"/>
            <a:t>Persona Analysis:</a:t>
          </a:r>
          <a:br>
            <a:rPr lang="en-IN" b="1" dirty="0"/>
          </a:br>
          <a:r>
            <a:rPr lang="en-IN" dirty="0"/>
            <a:t>Pragmatic Educators</a:t>
          </a:r>
          <a:endParaRPr lang="en-US" dirty="0"/>
        </a:p>
      </dgm:t>
    </dgm:pt>
    <dgm:pt modelId="{1D17968C-C3DF-4B71-AC92-96ABEE63BD0A}" type="parTrans" cxnId="{E6E1550D-1E2B-495E-BCE7-51D0D0B22B31}">
      <dgm:prSet/>
      <dgm:spPr/>
      <dgm:t>
        <a:bodyPr/>
        <a:lstStyle/>
        <a:p>
          <a:endParaRPr lang="en-IN"/>
        </a:p>
      </dgm:t>
    </dgm:pt>
    <dgm:pt modelId="{FF900EB6-7E64-42F4-B85F-1AB50FD6339E}" type="sibTrans" cxnId="{E6E1550D-1E2B-495E-BCE7-51D0D0B22B31}">
      <dgm:prSet/>
      <dgm:spPr/>
      <dgm:t>
        <a:bodyPr/>
        <a:lstStyle/>
        <a:p>
          <a:endParaRPr lang="en-IN"/>
        </a:p>
      </dgm:t>
    </dgm:pt>
    <dgm:pt modelId="{DFC72955-460B-477A-99C4-EEB621C9AD7B}">
      <dgm:prSet phldrT="[Text]"/>
      <dgm:spPr/>
      <dgm:t>
        <a:bodyPr/>
        <a:lstStyle/>
        <a:p>
          <a:r>
            <a:rPr lang="en-US" dirty="0"/>
            <a:t>Denmark</a:t>
          </a:r>
        </a:p>
      </dgm:t>
    </dgm:pt>
    <dgm:pt modelId="{92F7454C-F59D-43A6-80E9-8B1B4E75B631}" type="parTrans" cxnId="{F05DB01A-DBBB-4CC8-B487-A664C7749A16}">
      <dgm:prSet/>
      <dgm:spPr/>
      <dgm:t>
        <a:bodyPr/>
        <a:lstStyle/>
        <a:p>
          <a:endParaRPr lang="en-IN"/>
        </a:p>
      </dgm:t>
    </dgm:pt>
    <dgm:pt modelId="{91194F1A-E044-487E-ACBC-3495877F7CC5}" type="sibTrans" cxnId="{F05DB01A-DBBB-4CC8-B487-A664C7749A16}">
      <dgm:prSet/>
      <dgm:spPr/>
      <dgm:t>
        <a:bodyPr/>
        <a:lstStyle/>
        <a:p>
          <a:endParaRPr lang="en-IN"/>
        </a:p>
      </dgm:t>
    </dgm:pt>
    <dgm:pt modelId="{3CE3706A-8A3E-41F1-B3C0-AAE382FD7F81}">
      <dgm:prSet phldrT="[Text]"/>
      <dgm:spPr/>
      <dgm:t>
        <a:bodyPr/>
        <a:lstStyle/>
        <a:p>
          <a:r>
            <a:rPr lang="en-IN" b="1" dirty="0"/>
            <a:t>Buying Cycle Insights:</a:t>
          </a:r>
          <a:br>
            <a:rPr lang="en-IN" b="1" dirty="0"/>
          </a:br>
          <a:r>
            <a:rPr lang="en-US" dirty="0"/>
            <a:t>Faster decision-making process due to a focus on immediate benefits.</a:t>
          </a:r>
        </a:p>
      </dgm:t>
    </dgm:pt>
    <dgm:pt modelId="{DAB26552-0ED6-4E09-A5E2-05E984B21EF4}" type="parTrans" cxnId="{63314A62-BB17-4A82-A1FC-CAD9879DA4C7}">
      <dgm:prSet/>
      <dgm:spPr/>
      <dgm:t>
        <a:bodyPr/>
        <a:lstStyle/>
        <a:p>
          <a:endParaRPr lang="en-IN"/>
        </a:p>
      </dgm:t>
    </dgm:pt>
    <dgm:pt modelId="{8DE49414-BDBC-4EA7-98B2-26296FECA4FF}" type="sibTrans" cxnId="{63314A62-BB17-4A82-A1FC-CAD9879DA4C7}">
      <dgm:prSet/>
      <dgm:spPr/>
      <dgm:t>
        <a:bodyPr/>
        <a:lstStyle/>
        <a:p>
          <a:endParaRPr lang="en-IN"/>
        </a:p>
      </dgm:t>
    </dgm:pt>
    <dgm:pt modelId="{5B28D58C-F407-42C1-8851-9A8F08F940E9}">
      <dgm:prSet phldrT="[Text]"/>
      <dgm:spPr/>
      <dgm:t>
        <a:bodyPr/>
        <a:lstStyle/>
        <a:p>
          <a:r>
            <a:rPr lang="en-IN" b="1" dirty="0"/>
            <a:t>Decision Makers and Influencers:</a:t>
          </a:r>
          <a:br>
            <a:rPr lang="en-IN" b="1" dirty="0"/>
          </a:br>
          <a:r>
            <a:rPr lang="en-IN" dirty="0"/>
            <a:t>Department Heads and Educators</a:t>
          </a:r>
          <a:endParaRPr lang="en-US" dirty="0"/>
        </a:p>
      </dgm:t>
    </dgm:pt>
    <dgm:pt modelId="{91115A4E-563F-4974-8BCF-2AEE20409C7A}" type="parTrans" cxnId="{9B56CE43-3872-4352-873E-BADE64B67764}">
      <dgm:prSet/>
      <dgm:spPr/>
      <dgm:t>
        <a:bodyPr/>
        <a:lstStyle/>
        <a:p>
          <a:endParaRPr lang="en-IN"/>
        </a:p>
      </dgm:t>
    </dgm:pt>
    <dgm:pt modelId="{91B438E3-1663-42EC-8BA7-45D4706927A5}" type="sibTrans" cxnId="{9B56CE43-3872-4352-873E-BADE64B67764}">
      <dgm:prSet/>
      <dgm:spPr/>
      <dgm:t>
        <a:bodyPr/>
        <a:lstStyle/>
        <a:p>
          <a:endParaRPr lang="en-IN"/>
        </a:p>
      </dgm:t>
    </dgm:pt>
    <dgm:pt modelId="{E2BDB0D6-46A6-45EB-8896-5CAF8898BD73}">
      <dgm:prSet phldrT="[Text]"/>
      <dgm:spPr/>
      <dgm:t>
        <a:bodyPr/>
        <a:lstStyle/>
        <a:p>
          <a:r>
            <a:rPr lang="en-US" dirty="0"/>
            <a:t>Iceland</a:t>
          </a:r>
        </a:p>
      </dgm:t>
    </dgm:pt>
    <dgm:pt modelId="{8E7C31E8-2877-4BF4-B5EB-96BB730C6B6C}" type="parTrans" cxnId="{7FB48574-4F45-4536-B799-AD5F5E38091A}">
      <dgm:prSet/>
      <dgm:spPr/>
      <dgm:t>
        <a:bodyPr/>
        <a:lstStyle/>
        <a:p>
          <a:endParaRPr lang="en-IN"/>
        </a:p>
      </dgm:t>
    </dgm:pt>
    <dgm:pt modelId="{8E90DD49-D0F1-4ACB-A079-DD1FC5E75782}" type="sibTrans" cxnId="{7FB48574-4F45-4536-B799-AD5F5E38091A}">
      <dgm:prSet/>
      <dgm:spPr/>
      <dgm:t>
        <a:bodyPr/>
        <a:lstStyle/>
        <a:p>
          <a:endParaRPr lang="en-IN"/>
        </a:p>
      </dgm:t>
    </dgm:pt>
    <dgm:pt modelId="{08FB3EB9-56C1-4DF3-B7EC-027FE04E9A82}">
      <dgm:prSet phldrT="[Text]"/>
      <dgm:spPr/>
      <dgm:t>
        <a:bodyPr/>
        <a:lstStyle/>
        <a:p>
          <a:r>
            <a:rPr lang="en-IN" b="1" dirty="0"/>
            <a:t>Persona Analysis:</a:t>
          </a:r>
          <a:br>
            <a:rPr lang="en-IN" b="1" dirty="0"/>
          </a:br>
          <a:r>
            <a:rPr lang="en-IN" b="0" i="0" dirty="0"/>
            <a:t>Customization-Seeking Educators</a:t>
          </a:r>
          <a:endParaRPr lang="en-US" dirty="0"/>
        </a:p>
      </dgm:t>
    </dgm:pt>
    <dgm:pt modelId="{3BC64C3A-274B-4EAE-9E06-BFC6386417EB}" type="parTrans" cxnId="{E348CA3A-DA18-42D5-803E-529442F94EE1}">
      <dgm:prSet/>
      <dgm:spPr/>
      <dgm:t>
        <a:bodyPr/>
        <a:lstStyle/>
        <a:p>
          <a:endParaRPr lang="en-IN"/>
        </a:p>
      </dgm:t>
    </dgm:pt>
    <dgm:pt modelId="{CAC52C68-6BA2-4B79-93C5-A3DE687624D0}" type="sibTrans" cxnId="{E348CA3A-DA18-42D5-803E-529442F94EE1}">
      <dgm:prSet/>
      <dgm:spPr/>
      <dgm:t>
        <a:bodyPr/>
        <a:lstStyle/>
        <a:p>
          <a:endParaRPr lang="en-IN"/>
        </a:p>
      </dgm:t>
    </dgm:pt>
    <dgm:pt modelId="{761D2D42-FAEB-4298-8D06-47D50FB94A90}">
      <dgm:prSet phldrT="[Text]"/>
      <dgm:spPr/>
      <dgm:t>
        <a:bodyPr/>
        <a:lstStyle/>
        <a:p>
          <a:r>
            <a:rPr lang="en-IN" b="1" dirty="0"/>
            <a:t>Decision Makers and Influencers:</a:t>
          </a:r>
          <a:br>
            <a:rPr lang="en-IN" b="1" dirty="0"/>
          </a:br>
          <a:r>
            <a:rPr lang="en-US" dirty="0"/>
            <a:t>Head Teachers and Curriculum Coordinators</a:t>
          </a:r>
        </a:p>
      </dgm:t>
    </dgm:pt>
    <dgm:pt modelId="{192A367F-D246-41C8-8C3B-3A73AFE423D1}" type="parTrans" cxnId="{15427DC3-393E-411A-9853-1AF69DBBED27}">
      <dgm:prSet/>
      <dgm:spPr/>
      <dgm:t>
        <a:bodyPr/>
        <a:lstStyle/>
        <a:p>
          <a:endParaRPr lang="en-IN"/>
        </a:p>
      </dgm:t>
    </dgm:pt>
    <dgm:pt modelId="{942EE43B-5C4D-48D8-89EB-AD498B0A3D7E}" type="sibTrans" cxnId="{15427DC3-393E-411A-9853-1AF69DBBED27}">
      <dgm:prSet/>
      <dgm:spPr/>
      <dgm:t>
        <a:bodyPr/>
        <a:lstStyle/>
        <a:p>
          <a:endParaRPr lang="en-IN"/>
        </a:p>
      </dgm:t>
    </dgm:pt>
    <dgm:pt modelId="{0A4FFDE4-B9A3-42A5-848D-294C717AAC2A}">
      <dgm:prSet phldrT="[Text]"/>
      <dgm:spPr/>
      <dgm:t>
        <a:bodyPr/>
        <a:lstStyle/>
        <a:p>
          <a:r>
            <a:rPr lang="en-IN" b="1" dirty="0"/>
            <a:t>Buying Cycle Insights</a:t>
          </a:r>
          <a:r>
            <a:rPr lang="en-IN" dirty="0"/>
            <a:t>:</a:t>
          </a:r>
          <a:br>
            <a:rPr lang="en-IN" dirty="0"/>
          </a:br>
          <a:r>
            <a:rPr lang="en-US" dirty="0"/>
            <a:t>Moderate to longer buying cycle as educators explore the level of customization and alignment with local needs..</a:t>
          </a:r>
        </a:p>
      </dgm:t>
    </dgm:pt>
    <dgm:pt modelId="{13083D1D-A52A-4DF8-85C3-2FBE478F50D5}" type="sibTrans" cxnId="{0DF5B7C1-5170-4DFF-BA0C-0E7EA156B22A}">
      <dgm:prSet/>
      <dgm:spPr/>
      <dgm:t>
        <a:bodyPr/>
        <a:lstStyle/>
        <a:p>
          <a:endParaRPr lang="en-IN"/>
        </a:p>
      </dgm:t>
    </dgm:pt>
    <dgm:pt modelId="{B4B812F2-5A6F-428E-8E9B-BDF5EEE14A44}" type="parTrans" cxnId="{0DF5B7C1-5170-4DFF-BA0C-0E7EA156B22A}">
      <dgm:prSet/>
      <dgm:spPr/>
      <dgm:t>
        <a:bodyPr/>
        <a:lstStyle/>
        <a:p>
          <a:endParaRPr lang="en-IN"/>
        </a:p>
      </dgm:t>
    </dgm:pt>
    <dgm:pt modelId="{0C4AA059-323C-4A85-8DFC-687A9D203844}" type="pres">
      <dgm:prSet presAssocID="{EB8AC0DF-F9D9-413B-9337-E82994226C29}" presName="theList" presStyleCnt="0">
        <dgm:presLayoutVars>
          <dgm:dir/>
          <dgm:animLvl val="lvl"/>
          <dgm:resizeHandles val="exact"/>
        </dgm:presLayoutVars>
      </dgm:prSet>
      <dgm:spPr/>
    </dgm:pt>
    <dgm:pt modelId="{F2CB1894-DC13-41BD-B1CC-C7866069C80A}" type="pres">
      <dgm:prSet presAssocID="{E0ED0106-F132-47FC-B610-4BD09664513A}" presName="compNode" presStyleCnt="0"/>
      <dgm:spPr/>
    </dgm:pt>
    <dgm:pt modelId="{CB4F8A9A-9903-471D-873F-C6FD867E32C2}" type="pres">
      <dgm:prSet presAssocID="{E0ED0106-F132-47FC-B610-4BD09664513A}" presName="aNode" presStyleLbl="bgShp" presStyleIdx="0" presStyleCnt="5"/>
      <dgm:spPr/>
    </dgm:pt>
    <dgm:pt modelId="{355E9617-9AC8-4ED7-9432-324FABCC5583}" type="pres">
      <dgm:prSet presAssocID="{E0ED0106-F132-47FC-B610-4BD09664513A}" presName="textNode" presStyleLbl="bgShp" presStyleIdx="0" presStyleCnt="5"/>
      <dgm:spPr/>
    </dgm:pt>
    <dgm:pt modelId="{F05789AB-7F46-401A-890A-0738E19254D4}" type="pres">
      <dgm:prSet presAssocID="{E0ED0106-F132-47FC-B610-4BD09664513A}" presName="compChildNode" presStyleCnt="0"/>
      <dgm:spPr/>
    </dgm:pt>
    <dgm:pt modelId="{DEFBE093-DF55-4CBB-92F6-5059103A0439}" type="pres">
      <dgm:prSet presAssocID="{E0ED0106-F132-47FC-B610-4BD09664513A}" presName="theInnerList" presStyleCnt="0"/>
      <dgm:spPr/>
    </dgm:pt>
    <dgm:pt modelId="{FDB7D996-AD81-4E6E-AF52-04886FC8BAB0}" type="pres">
      <dgm:prSet presAssocID="{E7C71EF0-0B2C-4739-88F6-3BCC25D24D77}" presName="childNode" presStyleLbl="node1" presStyleIdx="0" presStyleCnt="15">
        <dgm:presLayoutVars>
          <dgm:bulletEnabled val="1"/>
        </dgm:presLayoutVars>
      </dgm:prSet>
      <dgm:spPr/>
    </dgm:pt>
    <dgm:pt modelId="{B1FCCF7B-ABE0-488F-BB8E-839CB4659845}" type="pres">
      <dgm:prSet presAssocID="{E7C71EF0-0B2C-4739-88F6-3BCC25D24D77}" presName="aSpace2" presStyleCnt="0"/>
      <dgm:spPr/>
    </dgm:pt>
    <dgm:pt modelId="{10840AB0-1E94-43AD-8488-B1688F30EE80}" type="pres">
      <dgm:prSet presAssocID="{BB24CF9E-8706-40C3-AFAB-FA16D46C8E58}" presName="childNode" presStyleLbl="node1" presStyleIdx="1" presStyleCnt="15">
        <dgm:presLayoutVars>
          <dgm:bulletEnabled val="1"/>
        </dgm:presLayoutVars>
      </dgm:prSet>
      <dgm:spPr/>
    </dgm:pt>
    <dgm:pt modelId="{A668BD5E-9351-4A24-9AB3-04AAA0C45C39}" type="pres">
      <dgm:prSet presAssocID="{BB24CF9E-8706-40C3-AFAB-FA16D46C8E58}" presName="aSpace2" presStyleCnt="0"/>
      <dgm:spPr/>
    </dgm:pt>
    <dgm:pt modelId="{0A6DEAAF-DBA8-4275-8DA0-8D577C8E34F0}" type="pres">
      <dgm:prSet presAssocID="{013C3896-BEB0-4490-810E-1E9B1A881BE0}" presName="childNode" presStyleLbl="node1" presStyleIdx="2" presStyleCnt="15">
        <dgm:presLayoutVars>
          <dgm:bulletEnabled val="1"/>
        </dgm:presLayoutVars>
      </dgm:prSet>
      <dgm:spPr/>
    </dgm:pt>
    <dgm:pt modelId="{2D0ECBC0-DAA5-4637-A664-CC5EE87791F5}" type="pres">
      <dgm:prSet presAssocID="{E0ED0106-F132-47FC-B610-4BD09664513A}" presName="aSpace" presStyleCnt="0"/>
      <dgm:spPr/>
    </dgm:pt>
    <dgm:pt modelId="{1E71C217-0BA7-47AB-9D16-2F6CE0A25C66}" type="pres">
      <dgm:prSet presAssocID="{FEA593A2-6ABB-42D8-8F50-53A35D846038}" presName="compNode" presStyleCnt="0"/>
      <dgm:spPr/>
    </dgm:pt>
    <dgm:pt modelId="{87F20B3E-CDD3-40BA-AD94-30B821CEF55F}" type="pres">
      <dgm:prSet presAssocID="{FEA593A2-6ABB-42D8-8F50-53A35D846038}" presName="aNode" presStyleLbl="bgShp" presStyleIdx="1" presStyleCnt="5"/>
      <dgm:spPr/>
    </dgm:pt>
    <dgm:pt modelId="{D1D8F833-3359-4851-A527-5C7543843B71}" type="pres">
      <dgm:prSet presAssocID="{FEA593A2-6ABB-42D8-8F50-53A35D846038}" presName="textNode" presStyleLbl="bgShp" presStyleIdx="1" presStyleCnt="5"/>
      <dgm:spPr/>
    </dgm:pt>
    <dgm:pt modelId="{EB033DEB-C8CE-4814-BF18-179B62D5D5C7}" type="pres">
      <dgm:prSet presAssocID="{FEA593A2-6ABB-42D8-8F50-53A35D846038}" presName="compChildNode" presStyleCnt="0"/>
      <dgm:spPr/>
    </dgm:pt>
    <dgm:pt modelId="{EE521065-5BD5-4B9B-8E2C-EB239DFB3BB1}" type="pres">
      <dgm:prSet presAssocID="{FEA593A2-6ABB-42D8-8F50-53A35D846038}" presName="theInnerList" presStyleCnt="0"/>
      <dgm:spPr/>
    </dgm:pt>
    <dgm:pt modelId="{77664A85-91FF-4CF2-BE8B-36C4D382BCC1}" type="pres">
      <dgm:prSet presAssocID="{2AC9F402-80F6-4831-BAA5-C9AB54F37EBF}" presName="childNode" presStyleLbl="node1" presStyleIdx="3" presStyleCnt="15">
        <dgm:presLayoutVars>
          <dgm:bulletEnabled val="1"/>
        </dgm:presLayoutVars>
      </dgm:prSet>
      <dgm:spPr/>
    </dgm:pt>
    <dgm:pt modelId="{B96AA4A1-6BD0-4219-B4C9-EC99980AA00B}" type="pres">
      <dgm:prSet presAssocID="{2AC9F402-80F6-4831-BAA5-C9AB54F37EBF}" presName="aSpace2" presStyleCnt="0"/>
      <dgm:spPr/>
    </dgm:pt>
    <dgm:pt modelId="{8FA4A975-0AEC-4556-BF09-B594FC45E716}" type="pres">
      <dgm:prSet presAssocID="{B91F52B4-C75A-4F0E-96AB-1035F2768BF2}" presName="childNode" presStyleLbl="node1" presStyleIdx="4" presStyleCnt="15">
        <dgm:presLayoutVars>
          <dgm:bulletEnabled val="1"/>
        </dgm:presLayoutVars>
      </dgm:prSet>
      <dgm:spPr/>
    </dgm:pt>
    <dgm:pt modelId="{791D20EC-C65F-4ABA-ADFC-BE10F5EFEE0D}" type="pres">
      <dgm:prSet presAssocID="{B91F52B4-C75A-4F0E-96AB-1035F2768BF2}" presName="aSpace2" presStyleCnt="0"/>
      <dgm:spPr/>
    </dgm:pt>
    <dgm:pt modelId="{473357E7-299F-4951-A033-54B850035615}" type="pres">
      <dgm:prSet presAssocID="{8CE61FF1-A62D-4CB2-BAD6-C9322A88DC0F}" presName="childNode" presStyleLbl="node1" presStyleIdx="5" presStyleCnt="15">
        <dgm:presLayoutVars>
          <dgm:bulletEnabled val="1"/>
        </dgm:presLayoutVars>
      </dgm:prSet>
      <dgm:spPr/>
    </dgm:pt>
    <dgm:pt modelId="{E07D85EA-CD1D-4358-840C-8E278FD3CC85}" type="pres">
      <dgm:prSet presAssocID="{FEA593A2-6ABB-42D8-8F50-53A35D846038}" presName="aSpace" presStyleCnt="0"/>
      <dgm:spPr/>
    </dgm:pt>
    <dgm:pt modelId="{ED0FC047-3364-4EA4-A451-0B67E94DD635}" type="pres">
      <dgm:prSet presAssocID="{D2E1926A-002C-4CB0-8E97-59EFE44DF68E}" presName="compNode" presStyleCnt="0"/>
      <dgm:spPr/>
    </dgm:pt>
    <dgm:pt modelId="{F3AA0F07-3494-4CDB-A6C7-C0E57E8F2A6E}" type="pres">
      <dgm:prSet presAssocID="{D2E1926A-002C-4CB0-8E97-59EFE44DF68E}" presName="aNode" presStyleLbl="bgShp" presStyleIdx="2" presStyleCnt="5"/>
      <dgm:spPr/>
    </dgm:pt>
    <dgm:pt modelId="{6577700B-A32A-4B83-AB59-3F3FD4151274}" type="pres">
      <dgm:prSet presAssocID="{D2E1926A-002C-4CB0-8E97-59EFE44DF68E}" presName="textNode" presStyleLbl="bgShp" presStyleIdx="2" presStyleCnt="5"/>
      <dgm:spPr/>
    </dgm:pt>
    <dgm:pt modelId="{076181E4-DDD5-4855-B208-1AFB15359D17}" type="pres">
      <dgm:prSet presAssocID="{D2E1926A-002C-4CB0-8E97-59EFE44DF68E}" presName="compChildNode" presStyleCnt="0"/>
      <dgm:spPr/>
    </dgm:pt>
    <dgm:pt modelId="{8CEE4779-FEEE-49AE-87BF-488E50D84B5F}" type="pres">
      <dgm:prSet presAssocID="{D2E1926A-002C-4CB0-8E97-59EFE44DF68E}" presName="theInnerList" presStyleCnt="0"/>
      <dgm:spPr/>
    </dgm:pt>
    <dgm:pt modelId="{D5C4BE56-049A-4931-A1DF-E732020EB39D}" type="pres">
      <dgm:prSet presAssocID="{CF522E03-040C-41DB-91E9-9499AF5B298E}" presName="childNode" presStyleLbl="node1" presStyleIdx="6" presStyleCnt="15">
        <dgm:presLayoutVars>
          <dgm:bulletEnabled val="1"/>
        </dgm:presLayoutVars>
      </dgm:prSet>
      <dgm:spPr/>
    </dgm:pt>
    <dgm:pt modelId="{843721D6-8B98-45A3-B61E-0E0CC1488C3A}" type="pres">
      <dgm:prSet presAssocID="{CF522E03-040C-41DB-91E9-9499AF5B298E}" presName="aSpace2" presStyleCnt="0"/>
      <dgm:spPr/>
    </dgm:pt>
    <dgm:pt modelId="{1FBBF839-B0D9-4409-9451-2ABCF9277774}" type="pres">
      <dgm:prSet presAssocID="{C216C149-7AC1-4AA4-A656-37B23EA54192}" presName="childNode" presStyleLbl="node1" presStyleIdx="7" presStyleCnt="15">
        <dgm:presLayoutVars>
          <dgm:bulletEnabled val="1"/>
        </dgm:presLayoutVars>
      </dgm:prSet>
      <dgm:spPr/>
    </dgm:pt>
    <dgm:pt modelId="{0B634069-1797-4522-9075-79BBC3B21BF1}" type="pres">
      <dgm:prSet presAssocID="{C216C149-7AC1-4AA4-A656-37B23EA54192}" presName="aSpace2" presStyleCnt="0"/>
      <dgm:spPr/>
    </dgm:pt>
    <dgm:pt modelId="{90BD17D0-1496-46BE-AA58-AEDB2867A723}" type="pres">
      <dgm:prSet presAssocID="{3D1D6F8F-1249-4B83-BAA7-4932AE2CF57E}" presName="childNode" presStyleLbl="node1" presStyleIdx="8" presStyleCnt="15">
        <dgm:presLayoutVars>
          <dgm:bulletEnabled val="1"/>
        </dgm:presLayoutVars>
      </dgm:prSet>
      <dgm:spPr/>
    </dgm:pt>
    <dgm:pt modelId="{72761058-D528-4808-9756-0F81E686C93B}" type="pres">
      <dgm:prSet presAssocID="{D2E1926A-002C-4CB0-8E97-59EFE44DF68E}" presName="aSpace" presStyleCnt="0"/>
      <dgm:spPr/>
    </dgm:pt>
    <dgm:pt modelId="{12AE818C-2BD7-4E17-B7B6-3109F9885554}" type="pres">
      <dgm:prSet presAssocID="{DFC72955-460B-477A-99C4-EEB621C9AD7B}" presName="compNode" presStyleCnt="0"/>
      <dgm:spPr/>
    </dgm:pt>
    <dgm:pt modelId="{C9771A28-1A0E-46DF-9843-D636FDEF4CD4}" type="pres">
      <dgm:prSet presAssocID="{DFC72955-460B-477A-99C4-EEB621C9AD7B}" presName="aNode" presStyleLbl="bgShp" presStyleIdx="3" presStyleCnt="5"/>
      <dgm:spPr/>
    </dgm:pt>
    <dgm:pt modelId="{3F94AB13-12FB-4E50-B4BF-630F2330420C}" type="pres">
      <dgm:prSet presAssocID="{DFC72955-460B-477A-99C4-EEB621C9AD7B}" presName="textNode" presStyleLbl="bgShp" presStyleIdx="3" presStyleCnt="5"/>
      <dgm:spPr/>
    </dgm:pt>
    <dgm:pt modelId="{8A72E34B-38FE-4629-A95D-E0585CEC149F}" type="pres">
      <dgm:prSet presAssocID="{DFC72955-460B-477A-99C4-EEB621C9AD7B}" presName="compChildNode" presStyleCnt="0"/>
      <dgm:spPr/>
    </dgm:pt>
    <dgm:pt modelId="{A7566935-66E1-4ABD-B556-565F89386DA1}" type="pres">
      <dgm:prSet presAssocID="{DFC72955-460B-477A-99C4-EEB621C9AD7B}" presName="theInnerList" presStyleCnt="0"/>
      <dgm:spPr/>
    </dgm:pt>
    <dgm:pt modelId="{F4C90269-663A-427D-AA5B-BDE887621D27}" type="pres">
      <dgm:prSet presAssocID="{0590DF3B-92E1-4CCA-A390-7AEC2FDC7AEA}" presName="childNode" presStyleLbl="node1" presStyleIdx="9" presStyleCnt="15">
        <dgm:presLayoutVars>
          <dgm:bulletEnabled val="1"/>
        </dgm:presLayoutVars>
      </dgm:prSet>
      <dgm:spPr/>
    </dgm:pt>
    <dgm:pt modelId="{67719E0D-6AC8-45CF-9748-7D5B6CBE6B5E}" type="pres">
      <dgm:prSet presAssocID="{0590DF3B-92E1-4CCA-A390-7AEC2FDC7AEA}" presName="aSpace2" presStyleCnt="0"/>
      <dgm:spPr/>
    </dgm:pt>
    <dgm:pt modelId="{4AF0AED5-CE1D-451F-9FC2-6EE10C5CDEDF}" type="pres">
      <dgm:prSet presAssocID="{3CE3706A-8A3E-41F1-B3C0-AAE382FD7F81}" presName="childNode" presStyleLbl="node1" presStyleIdx="10" presStyleCnt="15">
        <dgm:presLayoutVars>
          <dgm:bulletEnabled val="1"/>
        </dgm:presLayoutVars>
      </dgm:prSet>
      <dgm:spPr/>
    </dgm:pt>
    <dgm:pt modelId="{F451EB30-4FBE-4786-BD97-3F57B6E55C5D}" type="pres">
      <dgm:prSet presAssocID="{3CE3706A-8A3E-41F1-B3C0-AAE382FD7F81}" presName="aSpace2" presStyleCnt="0"/>
      <dgm:spPr/>
    </dgm:pt>
    <dgm:pt modelId="{AEA95E18-17C3-4543-B9B8-8E5179A8265C}" type="pres">
      <dgm:prSet presAssocID="{5B28D58C-F407-42C1-8851-9A8F08F940E9}" presName="childNode" presStyleLbl="node1" presStyleIdx="11" presStyleCnt="15">
        <dgm:presLayoutVars>
          <dgm:bulletEnabled val="1"/>
        </dgm:presLayoutVars>
      </dgm:prSet>
      <dgm:spPr/>
    </dgm:pt>
    <dgm:pt modelId="{C6FA0EFA-EF43-448B-BAD7-F535F668FBEC}" type="pres">
      <dgm:prSet presAssocID="{DFC72955-460B-477A-99C4-EEB621C9AD7B}" presName="aSpace" presStyleCnt="0"/>
      <dgm:spPr/>
    </dgm:pt>
    <dgm:pt modelId="{AB6FE48F-B7C6-4C0F-9C2F-77DFCF71270C}" type="pres">
      <dgm:prSet presAssocID="{E2BDB0D6-46A6-45EB-8896-5CAF8898BD73}" presName="compNode" presStyleCnt="0"/>
      <dgm:spPr/>
    </dgm:pt>
    <dgm:pt modelId="{67DA5FB5-C5AF-47C9-8BD2-222992703A2C}" type="pres">
      <dgm:prSet presAssocID="{E2BDB0D6-46A6-45EB-8896-5CAF8898BD73}" presName="aNode" presStyleLbl="bgShp" presStyleIdx="4" presStyleCnt="5"/>
      <dgm:spPr/>
    </dgm:pt>
    <dgm:pt modelId="{BE32EF87-841C-45DA-93FF-D7D19D527179}" type="pres">
      <dgm:prSet presAssocID="{E2BDB0D6-46A6-45EB-8896-5CAF8898BD73}" presName="textNode" presStyleLbl="bgShp" presStyleIdx="4" presStyleCnt="5"/>
      <dgm:spPr/>
    </dgm:pt>
    <dgm:pt modelId="{237691C9-0103-4718-8412-E77746B5FB43}" type="pres">
      <dgm:prSet presAssocID="{E2BDB0D6-46A6-45EB-8896-5CAF8898BD73}" presName="compChildNode" presStyleCnt="0"/>
      <dgm:spPr/>
    </dgm:pt>
    <dgm:pt modelId="{D40AF66F-9E33-4BF5-92ED-54C48E0938FE}" type="pres">
      <dgm:prSet presAssocID="{E2BDB0D6-46A6-45EB-8896-5CAF8898BD73}" presName="theInnerList" presStyleCnt="0"/>
      <dgm:spPr/>
    </dgm:pt>
    <dgm:pt modelId="{2AB14B74-F3CF-4A00-9F2D-D788AF93742E}" type="pres">
      <dgm:prSet presAssocID="{08FB3EB9-56C1-4DF3-B7EC-027FE04E9A82}" presName="childNode" presStyleLbl="node1" presStyleIdx="12" presStyleCnt="15">
        <dgm:presLayoutVars>
          <dgm:bulletEnabled val="1"/>
        </dgm:presLayoutVars>
      </dgm:prSet>
      <dgm:spPr/>
    </dgm:pt>
    <dgm:pt modelId="{3F24B5A0-F0AB-457F-8036-C11C27761D99}" type="pres">
      <dgm:prSet presAssocID="{08FB3EB9-56C1-4DF3-B7EC-027FE04E9A82}" presName="aSpace2" presStyleCnt="0"/>
      <dgm:spPr/>
    </dgm:pt>
    <dgm:pt modelId="{73C96FA2-0479-4023-BAD5-AEDCE808D166}" type="pres">
      <dgm:prSet presAssocID="{0A4FFDE4-B9A3-42A5-848D-294C717AAC2A}" presName="childNode" presStyleLbl="node1" presStyleIdx="13" presStyleCnt="15">
        <dgm:presLayoutVars>
          <dgm:bulletEnabled val="1"/>
        </dgm:presLayoutVars>
      </dgm:prSet>
      <dgm:spPr/>
    </dgm:pt>
    <dgm:pt modelId="{25CA6B32-F0D2-47E0-9E39-2A4EF1DFD2FC}" type="pres">
      <dgm:prSet presAssocID="{0A4FFDE4-B9A3-42A5-848D-294C717AAC2A}" presName="aSpace2" presStyleCnt="0"/>
      <dgm:spPr/>
    </dgm:pt>
    <dgm:pt modelId="{6FBA2EAE-19DC-4B12-832A-246EE7120B66}" type="pres">
      <dgm:prSet presAssocID="{761D2D42-FAEB-4298-8D06-47D50FB94A90}" presName="childNode" presStyleLbl="node1" presStyleIdx="14" presStyleCnt="15">
        <dgm:presLayoutVars>
          <dgm:bulletEnabled val="1"/>
        </dgm:presLayoutVars>
      </dgm:prSet>
      <dgm:spPr/>
    </dgm:pt>
  </dgm:ptLst>
  <dgm:cxnLst>
    <dgm:cxn modelId="{67F99301-A07E-4D63-9985-896A9C132256}" type="presOf" srcId="{DFC72955-460B-477A-99C4-EEB621C9AD7B}" destId="{C9771A28-1A0E-46DF-9843-D636FDEF4CD4}" srcOrd="0" destOrd="0" presId="urn:microsoft.com/office/officeart/2005/8/layout/lProcess2"/>
    <dgm:cxn modelId="{46B94107-8F6F-4CFC-9244-0ABB0990B761}" srcId="{EB8AC0DF-F9D9-413B-9337-E82994226C29}" destId="{D2E1926A-002C-4CB0-8E97-59EFE44DF68E}" srcOrd="2" destOrd="0" parTransId="{C9339F38-0811-4609-859F-B0FAB7AF3FC9}" sibTransId="{09C6B53C-FF19-4A40-BD11-778DF77114DF}"/>
    <dgm:cxn modelId="{385AA409-55EC-44AC-B180-6E3CB595A93F}" srcId="{FEA593A2-6ABB-42D8-8F50-53A35D846038}" destId="{2AC9F402-80F6-4831-BAA5-C9AB54F37EBF}" srcOrd="0" destOrd="0" parTransId="{195FBC64-70E3-431D-9940-824C56B592FF}" sibTransId="{3F10B524-BB06-4193-89C9-CD4C70EF916B}"/>
    <dgm:cxn modelId="{E6E1550D-1E2B-495E-BCE7-51D0D0B22B31}" srcId="{DFC72955-460B-477A-99C4-EEB621C9AD7B}" destId="{0590DF3B-92E1-4CCA-A390-7AEC2FDC7AEA}" srcOrd="0" destOrd="0" parTransId="{1D17968C-C3DF-4B71-AC92-96ABEE63BD0A}" sibTransId="{FF900EB6-7E64-42F4-B85F-1AB50FD6339E}"/>
    <dgm:cxn modelId="{F94FEB13-37C6-4ABD-82C2-CE32B97BEAFF}" type="presOf" srcId="{08FB3EB9-56C1-4DF3-B7EC-027FE04E9A82}" destId="{2AB14B74-F3CF-4A00-9F2D-D788AF93742E}" srcOrd="0" destOrd="0" presId="urn:microsoft.com/office/officeart/2005/8/layout/lProcess2"/>
    <dgm:cxn modelId="{3F911917-5A15-4D40-A53D-AFEB84B1FF91}" type="presOf" srcId="{2AC9F402-80F6-4831-BAA5-C9AB54F37EBF}" destId="{77664A85-91FF-4CF2-BE8B-36C4D382BCC1}" srcOrd="0" destOrd="0" presId="urn:microsoft.com/office/officeart/2005/8/layout/lProcess2"/>
    <dgm:cxn modelId="{F05DB01A-DBBB-4CC8-B487-A664C7749A16}" srcId="{EB8AC0DF-F9D9-413B-9337-E82994226C29}" destId="{DFC72955-460B-477A-99C4-EEB621C9AD7B}" srcOrd="3" destOrd="0" parTransId="{92F7454C-F59D-43A6-80E9-8B1B4E75B631}" sibTransId="{91194F1A-E044-487E-ACBC-3495877F7CC5}"/>
    <dgm:cxn modelId="{CF348F1C-9623-407E-A093-1FF504B4C632}" type="presOf" srcId="{CF522E03-040C-41DB-91E9-9499AF5B298E}" destId="{D5C4BE56-049A-4931-A1DF-E732020EB39D}" srcOrd="0" destOrd="0" presId="urn:microsoft.com/office/officeart/2005/8/layout/lProcess2"/>
    <dgm:cxn modelId="{2E183F22-AF46-49A3-8C0F-643A0EF1A99C}" type="presOf" srcId="{FEA593A2-6ABB-42D8-8F50-53A35D846038}" destId="{D1D8F833-3359-4851-A527-5C7543843B71}" srcOrd="1" destOrd="0" presId="urn:microsoft.com/office/officeart/2005/8/layout/lProcess2"/>
    <dgm:cxn modelId="{EED9F823-D59B-4A84-8726-914E2CE34194}" type="presOf" srcId="{B91F52B4-C75A-4F0E-96AB-1035F2768BF2}" destId="{8FA4A975-0AEC-4556-BF09-B594FC45E716}" srcOrd="0" destOrd="0" presId="urn:microsoft.com/office/officeart/2005/8/layout/lProcess2"/>
    <dgm:cxn modelId="{E25BB024-6245-4B6D-87F6-C6BCEB579FC7}" type="presOf" srcId="{8CE61FF1-A62D-4CB2-BAD6-C9322A88DC0F}" destId="{473357E7-299F-4951-A033-54B850035615}" srcOrd="0" destOrd="0" presId="urn:microsoft.com/office/officeart/2005/8/layout/lProcess2"/>
    <dgm:cxn modelId="{D8F2562B-48E4-4B96-A6B7-A952AFC7CF55}" type="presOf" srcId="{E2BDB0D6-46A6-45EB-8896-5CAF8898BD73}" destId="{67DA5FB5-C5AF-47C9-8BD2-222992703A2C}" srcOrd="0" destOrd="0" presId="urn:microsoft.com/office/officeart/2005/8/layout/lProcess2"/>
    <dgm:cxn modelId="{50920C2D-29B1-4C87-AE3B-B0CCC127CB62}" type="presOf" srcId="{761D2D42-FAEB-4298-8D06-47D50FB94A90}" destId="{6FBA2EAE-19DC-4B12-832A-246EE7120B66}" srcOrd="0" destOrd="0" presId="urn:microsoft.com/office/officeart/2005/8/layout/lProcess2"/>
    <dgm:cxn modelId="{E348CA3A-DA18-42D5-803E-529442F94EE1}" srcId="{E2BDB0D6-46A6-45EB-8896-5CAF8898BD73}" destId="{08FB3EB9-56C1-4DF3-B7EC-027FE04E9A82}" srcOrd="0" destOrd="0" parTransId="{3BC64C3A-274B-4EAE-9E06-BFC6386417EB}" sibTransId="{CAC52C68-6BA2-4B79-93C5-A3DE687624D0}"/>
    <dgm:cxn modelId="{5B4D9A3F-EBBA-4DEC-BAEF-A3B69130D0FF}" type="presOf" srcId="{013C3896-BEB0-4490-810E-1E9B1A881BE0}" destId="{0A6DEAAF-DBA8-4275-8DA0-8D577C8E34F0}" srcOrd="0" destOrd="0" presId="urn:microsoft.com/office/officeart/2005/8/layout/lProcess2"/>
    <dgm:cxn modelId="{47C96F5B-F544-4D56-8DAD-010F7D8A4D56}" srcId="{E0ED0106-F132-47FC-B610-4BD09664513A}" destId="{013C3896-BEB0-4490-810E-1E9B1A881BE0}" srcOrd="2" destOrd="0" parTransId="{C2FA45BB-A6B4-440A-B899-DB3FF6D28E52}" sibTransId="{F58BBC06-6305-45B5-8469-0FFC3C12431C}"/>
    <dgm:cxn modelId="{D7C7C541-47CB-49B1-8A8F-824656DE6B49}" type="presOf" srcId="{E2BDB0D6-46A6-45EB-8896-5CAF8898BD73}" destId="{BE32EF87-841C-45DA-93FF-D7D19D527179}" srcOrd="1" destOrd="0" presId="urn:microsoft.com/office/officeart/2005/8/layout/lProcess2"/>
    <dgm:cxn modelId="{63314A62-BB17-4A82-A1FC-CAD9879DA4C7}" srcId="{DFC72955-460B-477A-99C4-EEB621C9AD7B}" destId="{3CE3706A-8A3E-41F1-B3C0-AAE382FD7F81}" srcOrd="1" destOrd="0" parTransId="{DAB26552-0ED6-4E09-A5E2-05E984B21EF4}" sibTransId="{8DE49414-BDBC-4EA7-98B2-26296FECA4FF}"/>
    <dgm:cxn modelId="{9B56CE43-3872-4352-873E-BADE64B67764}" srcId="{DFC72955-460B-477A-99C4-EEB621C9AD7B}" destId="{5B28D58C-F407-42C1-8851-9A8F08F940E9}" srcOrd="2" destOrd="0" parTransId="{91115A4E-563F-4974-8BCF-2AEE20409C7A}" sibTransId="{91B438E3-1663-42EC-8BA7-45D4706927A5}"/>
    <dgm:cxn modelId="{B909F966-A273-47D4-9F05-C5BE0DBB18FC}" type="presOf" srcId="{3CE3706A-8A3E-41F1-B3C0-AAE382FD7F81}" destId="{4AF0AED5-CE1D-451F-9FC2-6EE10C5CDEDF}" srcOrd="0" destOrd="0" presId="urn:microsoft.com/office/officeart/2005/8/layout/lProcess2"/>
    <dgm:cxn modelId="{0DE3CD68-7B9A-428C-888F-566492BBBB9B}" type="presOf" srcId="{E0ED0106-F132-47FC-B610-4BD09664513A}" destId="{CB4F8A9A-9903-471D-873F-C6FD867E32C2}" srcOrd="0" destOrd="0" presId="urn:microsoft.com/office/officeart/2005/8/layout/lProcess2"/>
    <dgm:cxn modelId="{77C2FD69-B2F8-4A0E-94A9-FABA8093B2D3}" type="presOf" srcId="{3D1D6F8F-1249-4B83-BAA7-4932AE2CF57E}" destId="{90BD17D0-1496-46BE-AA58-AEDB2867A723}" srcOrd="0" destOrd="0" presId="urn:microsoft.com/office/officeart/2005/8/layout/lProcess2"/>
    <dgm:cxn modelId="{277CA44A-E48E-4E82-A349-411588A409A5}" type="presOf" srcId="{DFC72955-460B-477A-99C4-EEB621C9AD7B}" destId="{3F94AB13-12FB-4E50-B4BF-630F2330420C}" srcOrd="1" destOrd="0" presId="urn:microsoft.com/office/officeart/2005/8/layout/lProcess2"/>
    <dgm:cxn modelId="{EDC6BB6A-606F-40C1-AD28-8E6928D959C5}" srcId="{E0ED0106-F132-47FC-B610-4BD09664513A}" destId="{E7C71EF0-0B2C-4739-88F6-3BCC25D24D77}" srcOrd="0" destOrd="0" parTransId="{FBC8E8B7-916F-42F3-B18D-BA699C99089B}" sibTransId="{F5E30904-48A4-418F-B875-FCF09BC338C9}"/>
    <dgm:cxn modelId="{224FF552-1EF6-4D15-BC7D-318BECBF28AE}" type="presOf" srcId="{EB8AC0DF-F9D9-413B-9337-E82994226C29}" destId="{0C4AA059-323C-4A85-8DFC-687A9D203844}" srcOrd="0" destOrd="0" presId="urn:microsoft.com/office/officeart/2005/8/layout/lProcess2"/>
    <dgm:cxn modelId="{7FB48574-4F45-4536-B799-AD5F5E38091A}" srcId="{EB8AC0DF-F9D9-413B-9337-E82994226C29}" destId="{E2BDB0D6-46A6-45EB-8896-5CAF8898BD73}" srcOrd="4" destOrd="0" parTransId="{8E7C31E8-2877-4BF4-B5EB-96BB730C6B6C}" sibTransId="{8E90DD49-D0F1-4ACB-A079-DD1FC5E75782}"/>
    <dgm:cxn modelId="{AC16A777-51C1-4942-BC8B-F1C876BBBC0D}" type="presOf" srcId="{C216C149-7AC1-4AA4-A656-37B23EA54192}" destId="{1FBBF839-B0D9-4409-9451-2ABCF9277774}" srcOrd="0" destOrd="0" presId="urn:microsoft.com/office/officeart/2005/8/layout/lProcess2"/>
    <dgm:cxn modelId="{5198D757-AE09-4683-A5C9-CC74A1BA041C}" srcId="{EB8AC0DF-F9D9-413B-9337-E82994226C29}" destId="{E0ED0106-F132-47FC-B610-4BD09664513A}" srcOrd="0" destOrd="0" parTransId="{628E8799-434B-4AAB-B85E-BEE0DBEA2C19}" sibTransId="{E61FF70D-E9C3-4133-8146-126ADA35F9D5}"/>
    <dgm:cxn modelId="{07AC0B88-774A-44E7-89EF-DCB7D47699D7}" type="presOf" srcId="{E7C71EF0-0B2C-4739-88F6-3BCC25D24D77}" destId="{FDB7D996-AD81-4E6E-AF52-04886FC8BAB0}" srcOrd="0" destOrd="0" presId="urn:microsoft.com/office/officeart/2005/8/layout/lProcess2"/>
    <dgm:cxn modelId="{C9378288-4874-475D-973C-DE2CDA70041E}" type="presOf" srcId="{5B28D58C-F407-42C1-8851-9A8F08F940E9}" destId="{AEA95E18-17C3-4543-B9B8-8E5179A8265C}" srcOrd="0" destOrd="0" presId="urn:microsoft.com/office/officeart/2005/8/layout/lProcess2"/>
    <dgm:cxn modelId="{350D468C-415E-47BF-AECA-C8218AB49BC5}" srcId="{E0ED0106-F132-47FC-B610-4BD09664513A}" destId="{BB24CF9E-8706-40C3-AFAB-FA16D46C8E58}" srcOrd="1" destOrd="0" parTransId="{3435F41A-1D4F-4717-9408-B99FE6DEC508}" sibTransId="{BE4C718D-34D9-4A8C-B11A-8DAAE9C6C852}"/>
    <dgm:cxn modelId="{7C52C799-E8D9-4CED-AD5B-E567C097E12E}" type="presOf" srcId="{FEA593A2-6ABB-42D8-8F50-53A35D846038}" destId="{87F20B3E-CDD3-40BA-AD94-30B821CEF55F}" srcOrd="0" destOrd="0" presId="urn:microsoft.com/office/officeart/2005/8/layout/lProcess2"/>
    <dgm:cxn modelId="{D21B6C9D-8C0A-4522-98F9-B036D7FEB96F}" srcId="{EB8AC0DF-F9D9-413B-9337-E82994226C29}" destId="{FEA593A2-6ABB-42D8-8F50-53A35D846038}" srcOrd="1" destOrd="0" parTransId="{B3FBF1F8-A350-4D60-B105-412061E01D01}" sibTransId="{6A86AB38-4D6D-4BCD-8DEB-4BEA16952706}"/>
    <dgm:cxn modelId="{833B4F9D-B374-4F5A-8A23-C32CBF163C12}" type="presOf" srcId="{BB24CF9E-8706-40C3-AFAB-FA16D46C8E58}" destId="{10840AB0-1E94-43AD-8488-B1688F30EE80}" srcOrd="0" destOrd="0" presId="urn:microsoft.com/office/officeart/2005/8/layout/lProcess2"/>
    <dgm:cxn modelId="{7DBA32A4-B4C4-44A8-B0DF-17AD2240A578}" srcId="{D2E1926A-002C-4CB0-8E97-59EFE44DF68E}" destId="{3D1D6F8F-1249-4B83-BAA7-4932AE2CF57E}" srcOrd="2" destOrd="0" parTransId="{4BE127A2-C411-4B0D-8969-D62755802AC2}" sibTransId="{301586FC-4E89-4F24-847D-CE6EA3ADD919}"/>
    <dgm:cxn modelId="{103E2AA9-91AB-413B-8F91-28914E67C7F6}" type="presOf" srcId="{E0ED0106-F132-47FC-B610-4BD09664513A}" destId="{355E9617-9AC8-4ED7-9432-324FABCC5583}" srcOrd="1" destOrd="0" presId="urn:microsoft.com/office/officeart/2005/8/layout/lProcess2"/>
    <dgm:cxn modelId="{D1F085BD-8CB1-46DE-95C1-BEBA3BB2A792}" type="presOf" srcId="{D2E1926A-002C-4CB0-8E97-59EFE44DF68E}" destId="{6577700B-A32A-4B83-AB59-3F3FD4151274}" srcOrd="1" destOrd="0" presId="urn:microsoft.com/office/officeart/2005/8/layout/lProcess2"/>
    <dgm:cxn modelId="{0DF5B7C1-5170-4DFF-BA0C-0E7EA156B22A}" srcId="{E2BDB0D6-46A6-45EB-8896-5CAF8898BD73}" destId="{0A4FFDE4-B9A3-42A5-848D-294C717AAC2A}" srcOrd="1" destOrd="0" parTransId="{B4B812F2-5A6F-428E-8E9B-BDF5EEE14A44}" sibTransId="{13083D1D-A52A-4DF8-85C3-2FBE478F50D5}"/>
    <dgm:cxn modelId="{15427DC3-393E-411A-9853-1AF69DBBED27}" srcId="{E2BDB0D6-46A6-45EB-8896-5CAF8898BD73}" destId="{761D2D42-FAEB-4298-8D06-47D50FB94A90}" srcOrd="2" destOrd="0" parTransId="{192A367F-D246-41C8-8C3B-3A73AFE423D1}" sibTransId="{942EE43B-5C4D-48D8-89EB-AD498B0A3D7E}"/>
    <dgm:cxn modelId="{B6FA05C8-18EB-43A0-9D0B-FE2E281EE6AC}" srcId="{D2E1926A-002C-4CB0-8E97-59EFE44DF68E}" destId="{C216C149-7AC1-4AA4-A656-37B23EA54192}" srcOrd="1" destOrd="0" parTransId="{EBBBEEA8-4D84-4024-8240-A3D5F8A8F70D}" sibTransId="{7420FD82-078A-4772-B942-0056686033EA}"/>
    <dgm:cxn modelId="{3C731BCF-8F97-45B2-BDAD-3E7D09B66B18}" type="presOf" srcId="{0A4FFDE4-B9A3-42A5-848D-294C717AAC2A}" destId="{73C96FA2-0479-4023-BAD5-AEDCE808D166}" srcOrd="0" destOrd="0" presId="urn:microsoft.com/office/officeart/2005/8/layout/lProcess2"/>
    <dgm:cxn modelId="{DBD033CF-EA64-4A9A-871A-FB165184200B}" srcId="{FEA593A2-6ABB-42D8-8F50-53A35D846038}" destId="{B91F52B4-C75A-4F0E-96AB-1035F2768BF2}" srcOrd="1" destOrd="0" parTransId="{0BF711A5-D943-4ED8-8420-AD8A51D1FF43}" sibTransId="{6FC35173-2E52-49EB-B4E9-7E4CAA007EA3}"/>
    <dgm:cxn modelId="{BC335BD0-4AE8-49E0-985D-CF9EF1201542}" type="presOf" srcId="{D2E1926A-002C-4CB0-8E97-59EFE44DF68E}" destId="{F3AA0F07-3494-4CDB-A6C7-C0E57E8F2A6E}" srcOrd="0" destOrd="0" presId="urn:microsoft.com/office/officeart/2005/8/layout/lProcess2"/>
    <dgm:cxn modelId="{498FD1E6-8AA1-47CA-B880-EEF4BD95B2FA}" srcId="{FEA593A2-6ABB-42D8-8F50-53A35D846038}" destId="{8CE61FF1-A62D-4CB2-BAD6-C9322A88DC0F}" srcOrd="2" destOrd="0" parTransId="{C209BED9-DAA5-482D-A956-4E21A31C62EA}" sibTransId="{81EFF0BA-52A4-4B1D-883A-7DC0BDE6CAA1}"/>
    <dgm:cxn modelId="{11BFFEF2-B935-435F-A901-3EE491395D58}" srcId="{D2E1926A-002C-4CB0-8E97-59EFE44DF68E}" destId="{CF522E03-040C-41DB-91E9-9499AF5B298E}" srcOrd="0" destOrd="0" parTransId="{D4EAC626-9F6D-4F01-A49C-1DBBC71F8D3A}" sibTransId="{628FCFB2-4623-4720-BDFB-38F24B241293}"/>
    <dgm:cxn modelId="{AAB9D6FB-17C7-41CF-8AF0-B8E4CFCDE3EA}" type="presOf" srcId="{0590DF3B-92E1-4CCA-A390-7AEC2FDC7AEA}" destId="{F4C90269-663A-427D-AA5B-BDE887621D27}" srcOrd="0" destOrd="0" presId="urn:microsoft.com/office/officeart/2005/8/layout/lProcess2"/>
    <dgm:cxn modelId="{B456683E-55DE-402E-91CB-EA6D327706EC}" type="presParOf" srcId="{0C4AA059-323C-4A85-8DFC-687A9D203844}" destId="{F2CB1894-DC13-41BD-B1CC-C7866069C80A}" srcOrd="0" destOrd="0" presId="urn:microsoft.com/office/officeart/2005/8/layout/lProcess2"/>
    <dgm:cxn modelId="{00369B03-8D89-41FC-8F2C-FDB0C4699C5B}" type="presParOf" srcId="{F2CB1894-DC13-41BD-B1CC-C7866069C80A}" destId="{CB4F8A9A-9903-471D-873F-C6FD867E32C2}" srcOrd="0" destOrd="0" presId="urn:microsoft.com/office/officeart/2005/8/layout/lProcess2"/>
    <dgm:cxn modelId="{0D59E330-F3E1-4277-A423-31475629ECE4}" type="presParOf" srcId="{F2CB1894-DC13-41BD-B1CC-C7866069C80A}" destId="{355E9617-9AC8-4ED7-9432-324FABCC5583}" srcOrd="1" destOrd="0" presId="urn:microsoft.com/office/officeart/2005/8/layout/lProcess2"/>
    <dgm:cxn modelId="{64D80E65-91B6-4F1E-A3C9-B2A9CA67380B}" type="presParOf" srcId="{F2CB1894-DC13-41BD-B1CC-C7866069C80A}" destId="{F05789AB-7F46-401A-890A-0738E19254D4}" srcOrd="2" destOrd="0" presId="urn:microsoft.com/office/officeart/2005/8/layout/lProcess2"/>
    <dgm:cxn modelId="{0FB9DD2D-E328-4259-9D3B-757FC3DD34BD}" type="presParOf" srcId="{F05789AB-7F46-401A-890A-0738E19254D4}" destId="{DEFBE093-DF55-4CBB-92F6-5059103A0439}" srcOrd="0" destOrd="0" presId="urn:microsoft.com/office/officeart/2005/8/layout/lProcess2"/>
    <dgm:cxn modelId="{28F4E3B9-87CA-4E7F-8A93-C4EC34D1093A}" type="presParOf" srcId="{DEFBE093-DF55-4CBB-92F6-5059103A0439}" destId="{FDB7D996-AD81-4E6E-AF52-04886FC8BAB0}" srcOrd="0" destOrd="0" presId="urn:microsoft.com/office/officeart/2005/8/layout/lProcess2"/>
    <dgm:cxn modelId="{F5537B6B-8427-4A2A-BB53-A45DF2342289}" type="presParOf" srcId="{DEFBE093-DF55-4CBB-92F6-5059103A0439}" destId="{B1FCCF7B-ABE0-488F-BB8E-839CB4659845}" srcOrd="1" destOrd="0" presId="urn:microsoft.com/office/officeart/2005/8/layout/lProcess2"/>
    <dgm:cxn modelId="{B9B59C0C-623D-4E79-A99E-4E514FDA17B4}" type="presParOf" srcId="{DEFBE093-DF55-4CBB-92F6-5059103A0439}" destId="{10840AB0-1E94-43AD-8488-B1688F30EE80}" srcOrd="2" destOrd="0" presId="urn:microsoft.com/office/officeart/2005/8/layout/lProcess2"/>
    <dgm:cxn modelId="{F387DF19-36A4-4E92-8592-512D2AED47CD}" type="presParOf" srcId="{DEFBE093-DF55-4CBB-92F6-5059103A0439}" destId="{A668BD5E-9351-4A24-9AB3-04AAA0C45C39}" srcOrd="3" destOrd="0" presId="urn:microsoft.com/office/officeart/2005/8/layout/lProcess2"/>
    <dgm:cxn modelId="{9D6DF4B1-F1FA-48BB-88AB-4661728661AA}" type="presParOf" srcId="{DEFBE093-DF55-4CBB-92F6-5059103A0439}" destId="{0A6DEAAF-DBA8-4275-8DA0-8D577C8E34F0}" srcOrd="4" destOrd="0" presId="urn:microsoft.com/office/officeart/2005/8/layout/lProcess2"/>
    <dgm:cxn modelId="{CA943311-AADB-4E8D-AA09-D384906A3F4C}" type="presParOf" srcId="{0C4AA059-323C-4A85-8DFC-687A9D203844}" destId="{2D0ECBC0-DAA5-4637-A664-CC5EE87791F5}" srcOrd="1" destOrd="0" presId="urn:microsoft.com/office/officeart/2005/8/layout/lProcess2"/>
    <dgm:cxn modelId="{34E156E7-3D98-4430-91F4-2141773487FE}" type="presParOf" srcId="{0C4AA059-323C-4A85-8DFC-687A9D203844}" destId="{1E71C217-0BA7-47AB-9D16-2F6CE0A25C66}" srcOrd="2" destOrd="0" presId="urn:microsoft.com/office/officeart/2005/8/layout/lProcess2"/>
    <dgm:cxn modelId="{E406139B-D38D-4BA0-9FF5-7528FCC125E4}" type="presParOf" srcId="{1E71C217-0BA7-47AB-9D16-2F6CE0A25C66}" destId="{87F20B3E-CDD3-40BA-AD94-30B821CEF55F}" srcOrd="0" destOrd="0" presId="urn:microsoft.com/office/officeart/2005/8/layout/lProcess2"/>
    <dgm:cxn modelId="{83C0D750-00B2-471B-AE13-012938713AE8}" type="presParOf" srcId="{1E71C217-0BA7-47AB-9D16-2F6CE0A25C66}" destId="{D1D8F833-3359-4851-A527-5C7543843B71}" srcOrd="1" destOrd="0" presId="urn:microsoft.com/office/officeart/2005/8/layout/lProcess2"/>
    <dgm:cxn modelId="{EBE008F2-4F63-42E2-9AA7-C215FB1C9ECD}" type="presParOf" srcId="{1E71C217-0BA7-47AB-9D16-2F6CE0A25C66}" destId="{EB033DEB-C8CE-4814-BF18-179B62D5D5C7}" srcOrd="2" destOrd="0" presId="urn:microsoft.com/office/officeart/2005/8/layout/lProcess2"/>
    <dgm:cxn modelId="{69CDC39F-EE7C-4ACE-8B93-7EF9ADD99926}" type="presParOf" srcId="{EB033DEB-C8CE-4814-BF18-179B62D5D5C7}" destId="{EE521065-5BD5-4B9B-8E2C-EB239DFB3BB1}" srcOrd="0" destOrd="0" presId="urn:microsoft.com/office/officeart/2005/8/layout/lProcess2"/>
    <dgm:cxn modelId="{176CF6CF-7C2C-4B8C-91CD-7F1D148708BE}" type="presParOf" srcId="{EE521065-5BD5-4B9B-8E2C-EB239DFB3BB1}" destId="{77664A85-91FF-4CF2-BE8B-36C4D382BCC1}" srcOrd="0" destOrd="0" presId="urn:microsoft.com/office/officeart/2005/8/layout/lProcess2"/>
    <dgm:cxn modelId="{3C44A4F4-1457-4C44-8BB9-69734D4A16B4}" type="presParOf" srcId="{EE521065-5BD5-4B9B-8E2C-EB239DFB3BB1}" destId="{B96AA4A1-6BD0-4219-B4C9-EC99980AA00B}" srcOrd="1" destOrd="0" presId="urn:microsoft.com/office/officeart/2005/8/layout/lProcess2"/>
    <dgm:cxn modelId="{14478E5E-E9CC-4F79-A201-A65779E6BCD8}" type="presParOf" srcId="{EE521065-5BD5-4B9B-8E2C-EB239DFB3BB1}" destId="{8FA4A975-0AEC-4556-BF09-B594FC45E716}" srcOrd="2" destOrd="0" presId="urn:microsoft.com/office/officeart/2005/8/layout/lProcess2"/>
    <dgm:cxn modelId="{51552BF5-5A4B-4EB8-905E-1A5E97B86ACC}" type="presParOf" srcId="{EE521065-5BD5-4B9B-8E2C-EB239DFB3BB1}" destId="{791D20EC-C65F-4ABA-ADFC-BE10F5EFEE0D}" srcOrd="3" destOrd="0" presId="urn:microsoft.com/office/officeart/2005/8/layout/lProcess2"/>
    <dgm:cxn modelId="{7F2E9158-653D-48DF-88C1-A4AE8EFC9826}" type="presParOf" srcId="{EE521065-5BD5-4B9B-8E2C-EB239DFB3BB1}" destId="{473357E7-299F-4951-A033-54B850035615}" srcOrd="4" destOrd="0" presId="urn:microsoft.com/office/officeart/2005/8/layout/lProcess2"/>
    <dgm:cxn modelId="{4FC51576-A864-468C-AB4A-BA5CF845EC75}" type="presParOf" srcId="{0C4AA059-323C-4A85-8DFC-687A9D203844}" destId="{E07D85EA-CD1D-4358-840C-8E278FD3CC85}" srcOrd="3" destOrd="0" presId="urn:microsoft.com/office/officeart/2005/8/layout/lProcess2"/>
    <dgm:cxn modelId="{0A87711D-F040-47FD-ADBC-FC0020F46E55}" type="presParOf" srcId="{0C4AA059-323C-4A85-8DFC-687A9D203844}" destId="{ED0FC047-3364-4EA4-A451-0B67E94DD635}" srcOrd="4" destOrd="0" presId="urn:microsoft.com/office/officeart/2005/8/layout/lProcess2"/>
    <dgm:cxn modelId="{7D1E0CD4-4597-43A5-8F2B-FAB028447B99}" type="presParOf" srcId="{ED0FC047-3364-4EA4-A451-0B67E94DD635}" destId="{F3AA0F07-3494-4CDB-A6C7-C0E57E8F2A6E}" srcOrd="0" destOrd="0" presId="urn:microsoft.com/office/officeart/2005/8/layout/lProcess2"/>
    <dgm:cxn modelId="{597700A2-C659-43D7-825A-08AA3CBA747B}" type="presParOf" srcId="{ED0FC047-3364-4EA4-A451-0B67E94DD635}" destId="{6577700B-A32A-4B83-AB59-3F3FD4151274}" srcOrd="1" destOrd="0" presId="urn:microsoft.com/office/officeart/2005/8/layout/lProcess2"/>
    <dgm:cxn modelId="{43650267-9CB0-4D42-BECF-8991CDDBBBA4}" type="presParOf" srcId="{ED0FC047-3364-4EA4-A451-0B67E94DD635}" destId="{076181E4-DDD5-4855-B208-1AFB15359D17}" srcOrd="2" destOrd="0" presId="urn:microsoft.com/office/officeart/2005/8/layout/lProcess2"/>
    <dgm:cxn modelId="{9CBDCA18-C432-4A5F-87C5-FFA8F1497B1A}" type="presParOf" srcId="{076181E4-DDD5-4855-B208-1AFB15359D17}" destId="{8CEE4779-FEEE-49AE-87BF-488E50D84B5F}" srcOrd="0" destOrd="0" presId="urn:microsoft.com/office/officeart/2005/8/layout/lProcess2"/>
    <dgm:cxn modelId="{563A3CAC-9405-4C4F-9111-65E5B131B192}" type="presParOf" srcId="{8CEE4779-FEEE-49AE-87BF-488E50D84B5F}" destId="{D5C4BE56-049A-4931-A1DF-E732020EB39D}" srcOrd="0" destOrd="0" presId="urn:microsoft.com/office/officeart/2005/8/layout/lProcess2"/>
    <dgm:cxn modelId="{13CA809D-ACB7-434B-A9E7-2530CA21A1B7}" type="presParOf" srcId="{8CEE4779-FEEE-49AE-87BF-488E50D84B5F}" destId="{843721D6-8B98-45A3-B61E-0E0CC1488C3A}" srcOrd="1" destOrd="0" presId="urn:microsoft.com/office/officeart/2005/8/layout/lProcess2"/>
    <dgm:cxn modelId="{4D6147E1-9A31-4725-A23C-A4CD83A4D52B}" type="presParOf" srcId="{8CEE4779-FEEE-49AE-87BF-488E50D84B5F}" destId="{1FBBF839-B0D9-4409-9451-2ABCF9277774}" srcOrd="2" destOrd="0" presId="urn:microsoft.com/office/officeart/2005/8/layout/lProcess2"/>
    <dgm:cxn modelId="{ACF67552-3349-4E9D-94EA-2E376A455D2A}" type="presParOf" srcId="{8CEE4779-FEEE-49AE-87BF-488E50D84B5F}" destId="{0B634069-1797-4522-9075-79BBC3B21BF1}" srcOrd="3" destOrd="0" presId="urn:microsoft.com/office/officeart/2005/8/layout/lProcess2"/>
    <dgm:cxn modelId="{24CBB1EB-ED75-4C1C-A467-02B0745F989A}" type="presParOf" srcId="{8CEE4779-FEEE-49AE-87BF-488E50D84B5F}" destId="{90BD17D0-1496-46BE-AA58-AEDB2867A723}" srcOrd="4" destOrd="0" presId="urn:microsoft.com/office/officeart/2005/8/layout/lProcess2"/>
    <dgm:cxn modelId="{6E562BEF-43AC-48EF-95AB-3D76E780EC02}" type="presParOf" srcId="{0C4AA059-323C-4A85-8DFC-687A9D203844}" destId="{72761058-D528-4808-9756-0F81E686C93B}" srcOrd="5" destOrd="0" presId="urn:microsoft.com/office/officeart/2005/8/layout/lProcess2"/>
    <dgm:cxn modelId="{4007B62A-2CBC-449E-AC49-868665E6128B}" type="presParOf" srcId="{0C4AA059-323C-4A85-8DFC-687A9D203844}" destId="{12AE818C-2BD7-4E17-B7B6-3109F9885554}" srcOrd="6" destOrd="0" presId="urn:microsoft.com/office/officeart/2005/8/layout/lProcess2"/>
    <dgm:cxn modelId="{9600E2FA-7F38-47AC-A59A-DC9067FB6A95}" type="presParOf" srcId="{12AE818C-2BD7-4E17-B7B6-3109F9885554}" destId="{C9771A28-1A0E-46DF-9843-D636FDEF4CD4}" srcOrd="0" destOrd="0" presId="urn:microsoft.com/office/officeart/2005/8/layout/lProcess2"/>
    <dgm:cxn modelId="{11FB32A3-5C2C-445B-A968-EDE5EB96AE26}" type="presParOf" srcId="{12AE818C-2BD7-4E17-B7B6-3109F9885554}" destId="{3F94AB13-12FB-4E50-B4BF-630F2330420C}" srcOrd="1" destOrd="0" presId="urn:microsoft.com/office/officeart/2005/8/layout/lProcess2"/>
    <dgm:cxn modelId="{CA9C6E0A-F793-4643-9CEE-44362B3C1993}" type="presParOf" srcId="{12AE818C-2BD7-4E17-B7B6-3109F9885554}" destId="{8A72E34B-38FE-4629-A95D-E0585CEC149F}" srcOrd="2" destOrd="0" presId="urn:microsoft.com/office/officeart/2005/8/layout/lProcess2"/>
    <dgm:cxn modelId="{518759B3-B7B1-43B3-ABB9-A20A268D9324}" type="presParOf" srcId="{8A72E34B-38FE-4629-A95D-E0585CEC149F}" destId="{A7566935-66E1-4ABD-B556-565F89386DA1}" srcOrd="0" destOrd="0" presId="urn:microsoft.com/office/officeart/2005/8/layout/lProcess2"/>
    <dgm:cxn modelId="{3AA9FDD0-2DDB-4DFF-9D29-45917FF1DB70}" type="presParOf" srcId="{A7566935-66E1-4ABD-B556-565F89386DA1}" destId="{F4C90269-663A-427D-AA5B-BDE887621D27}" srcOrd="0" destOrd="0" presId="urn:microsoft.com/office/officeart/2005/8/layout/lProcess2"/>
    <dgm:cxn modelId="{0FB61198-4294-4EC8-9215-1DA786C184AC}" type="presParOf" srcId="{A7566935-66E1-4ABD-B556-565F89386DA1}" destId="{67719E0D-6AC8-45CF-9748-7D5B6CBE6B5E}" srcOrd="1" destOrd="0" presId="urn:microsoft.com/office/officeart/2005/8/layout/lProcess2"/>
    <dgm:cxn modelId="{7F7E1C0C-ECBF-46F1-A02F-CAD5C0C62531}" type="presParOf" srcId="{A7566935-66E1-4ABD-B556-565F89386DA1}" destId="{4AF0AED5-CE1D-451F-9FC2-6EE10C5CDEDF}" srcOrd="2" destOrd="0" presId="urn:microsoft.com/office/officeart/2005/8/layout/lProcess2"/>
    <dgm:cxn modelId="{166DD9B0-4934-4838-B6CF-533FFF4B1E4A}" type="presParOf" srcId="{A7566935-66E1-4ABD-B556-565F89386DA1}" destId="{F451EB30-4FBE-4786-BD97-3F57B6E55C5D}" srcOrd="3" destOrd="0" presId="urn:microsoft.com/office/officeart/2005/8/layout/lProcess2"/>
    <dgm:cxn modelId="{DB38534D-B790-4CE7-B5C5-A14C12D5ABC5}" type="presParOf" srcId="{A7566935-66E1-4ABD-B556-565F89386DA1}" destId="{AEA95E18-17C3-4543-B9B8-8E5179A8265C}" srcOrd="4" destOrd="0" presId="urn:microsoft.com/office/officeart/2005/8/layout/lProcess2"/>
    <dgm:cxn modelId="{DFAF59AB-15C6-454D-ABCD-EE6BEC682CF0}" type="presParOf" srcId="{0C4AA059-323C-4A85-8DFC-687A9D203844}" destId="{C6FA0EFA-EF43-448B-BAD7-F535F668FBEC}" srcOrd="7" destOrd="0" presId="urn:microsoft.com/office/officeart/2005/8/layout/lProcess2"/>
    <dgm:cxn modelId="{567E2360-8F5E-4E0A-B4A6-2F7992BD9827}" type="presParOf" srcId="{0C4AA059-323C-4A85-8DFC-687A9D203844}" destId="{AB6FE48F-B7C6-4C0F-9C2F-77DFCF71270C}" srcOrd="8" destOrd="0" presId="urn:microsoft.com/office/officeart/2005/8/layout/lProcess2"/>
    <dgm:cxn modelId="{91D6F296-E7AA-488E-BC5B-F152DA2A38FD}" type="presParOf" srcId="{AB6FE48F-B7C6-4C0F-9C2F-77DFCF71270C}" destId="{67DA5FB5-C5AF-47C9-8BD2-222992703A2C}" srcOrd="0" destOrd="0" presId="urn:microsoft.com/office/officeart/2005/8/layout/lProcess2"/>
    <dgm:cxn modelId="{8FF2557B-6E67-4657-9D06-CF1B9EB4015A}" type="presParOf" srcId="{AB6FE48F-B7C6-4C0F-9C2F-77DFCF71270C}" destId="{BE32EF87-841C-45DA-93FF-D7D19D527179}" srcOrd="1" destOrd="0" presId="urn:microsoft.com/office/officeart/2005/8/layout/lProcess2"/>
    <dgm:cxn modelId="{6AE3E409-F690-4DF1-977C-2D21B95B615E}" type="presParOf" srcId="{AB6FE48F-B7C6-4C0F-9C2F-77DFCF71270C}" destId="{237691C9-0103-4718-8412-E77746B5FB43}" srcOrd="2" destOrd="0" presId="urn:microsoft.com/office/officeart/2005/8/layout/lProcess2"/>
    <dgm:cxn modelId="{0FF442E2-734F-43EA-BF05-756CF3B16C12}" type="presParOf" srcId="{237691C9-0103-4718-8412-E77746B5FB43}" destId="{D40AF66F-9E33-4BF5-92ED-54C48E0938FE}" srcOrd="0" destOrd="0" presId="urn:microsoft.com/office/officeart/2005/8/layout/lProcess2"/>
    <dgm:cxn modelId="{CDCE70F2-A19F-4FEC-BB23-69D05BC3E5B3}" type="presParOf" srcId="{D40AF66F-9E33-4BF5-92ED-54C48E0938FE}" destId="{2AB14B74-F3CF-4A00-9F2D-D788AF93742E}" srcOrd="0" destOrd="0" presId="urn:microsoft.com/office/officeart/2005/8/layout/lProcess2"/>
    <dgm:cxn modelId="{AB238530-05A3-4F41-9242-49A8477F9AEA}" type="presParOf" srcId="{D40AF66F-9E33-4BF5-92ED-54C48E0938FE}" destId="{3F24B5A0-F0AB-457F-8036-C11C27761D99}" srcOrd="1" destOrd="0" presId="urn:microsoft.com/office/officeart/2005/8/layout/lProcess2"/>
    <dgm:cxn modelId="{39748D3D-5EC7-48D9-AB68-9A4830E4455B}" type="presParOf" srcId="{D40AF66F-9E33-4BF5-92ED-54C48E0938FE}" destId="{73C96FA2-0479-4023-BAD5-AEDCE808D166}" srcOrd="2" destOrd="0" presId="urn:microsoft.com/office/officeart/2005/8/layout/lProcess2"/>
    <dgm:cxn modelId="{87F77C24-940E-41FA-BB02-7B708C274387}" type="presParOf" srcId="{D40AF66F-9E33-4BF5-92ED-54C48E0938FE}" destId="{25CA6B32-F0D2-47E0-9E39-2A4EF1DFD2FC}" srcOrd="3" destOrd="0" presId="urn:microsoft.com/office/officeart/2005/8/layout/lProcess2"/>
    <dgm:cxn modelId="{C3F75237-76F2-43FE-8F88-06793CBC2B6F}" type="presParOf" srcId="{D40AF66F-9E33-4BF5-92ED-54C48E0938FE}" destId="{6FBA2EAE-19DC-4B12-832A-246EE7120B66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4F8A9A-9903-471D-873F-C6FD867E32C2}">
      <dsp:nvSpPr>
        <dsp:cNvPr id="0" name=""/>
        <dsp:cNvSpPr/>
      </dsp:nvSpPr>
      <dsp:spPr>
        <a:xfrm>
          <a:off x="5141" y="0"/>
          <a:ext cx="1804325" cy="563569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accent1">
              <a:tint val="40000"/>
              <a:hueOff val="0"/>
              <a:satOff val="0"/>
              <a:lumOff val="0"/>
              <a:alphaOff val="0"/>
              <a:shade val="35000"/>
              <a:satMod val="13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Sweden</a:t>
          </a:r>
        </a:p>
      </dsp:txBody>
      <dsp:txXfrm>
        <a:off x="5141" y="0"/>
        <a:ext cx="1804325" cy="1690707"/>
      </dsp:txXfrm>
    </dsp:sp>
    <dsp:sp modelId="{FDB7D996-AD81-4E6E-AF52-04886FC8BAB0}">
      <dsp:nvSpPr>
        <dsp:cNvPr id="0" name=""/>
        <dsp:cNvSpPr/>
      </dsp:nvSpPr>
      <dsp:spPr>
        <a:xfrm>
          <a:off x="185574" y="1691188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Persona Analysis:</a:t>
          </a:r>
          <a:br>
            <a:rPr lang="en-IN" sz="900" b="1" kern="1200" dirty="0"/>
          </a:br>
          <a:r>
            <a:rPr lang="en-IN" sz="900" kern="1200" dirty="0"/>
            <a:t>Tech-Savvy Educators</a:t>
          </a:r>
        </a:p>
      </dsp:txBody>
      <dsp:txXfrm>
        <a:off x="218002" y="1723616"/>
        <a:ext cx="1378604" cy="1042331"/>
      </dsp:txXfrm>
    </dsp:sp>
    <dsp:sp modelId="{10840AB0-1E94-43AD-8488-B1688F30EE80}">
      <dsp:nvSpPr>
        <dsp:cNvPr id="0" name=""/>
        <dsp:cNvSpPr/>
      </dsp:nvSpPr>
      <dsp:spPr>
        <a:xfrm>
          <a:off x="185574" y="2968712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Buying Cycle Insights:</a:t>
          </a:r>
          <a:br>
            <a:rPr lang="en-IN" sz="900" b="1" kern="1200" dirty="0"/>
          </a:br>
          <a:r>
            <a:rPr lang="en-US" sz="900" kern="1200" dirty="0"/>
            <a:t>Focus on long-term value and impact on student learning outcomes.</a:t>
          </a:r>
        </a:p>
      </dsp:txBody>
      <dsp:txXfrm>
        <a:off x="218002" y="3001140"/>
        <a:ext cx="1378604" cy="1042331"/>
      </dsp:txXfrm>
    </dsp:sp>
    <dsp:sp modelId="{0A6DEAAF-DBA8-4275-8DA0-8D577C8E34F0}">
      <dsp:nvSpPr>
        <dsp:cNvPr id="0" name=""/>
        <dsp:cNvSpPr/>
      </dsp:nvSpPr>
      <dsp:spPr>
        <a:xfrm>
          <a:off x="185574" y="4246236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Decision Makers and Influencers:</a:t>
          </a:r>
          <a:br>
            <a:rPr lang="en-IN" sz="900" b="1" kern="1200" dirty="0"/>
          </a:br>
          <a:r>
            <a:rPr lang="en-US" sz="900" kern="1200" dirty="0"/>
            <a:t>School Principals and Tech Coordinators</a:t>
          </a:r>
        </a:p>
      </dsp:txBody>
      <dsp:txXfrm>
        <a:off x="218002" y="4278664"/>
        <a:ext cx="1378604" cy="1042331"/>
      </dsp:txXfrm>
    </dsp:sp>
    <dsp:sp modelId="{87F20B3E-CDD3-40BA-AD94-30B821CEF55F}">
      <dsp:nvSpPr>
        <dsp:cNvPr id="0" name=""/>
        <dsp:cNvSpPr/>
      </dsp:nvSpPr>
      <dsp:spPr>
        <a:xfrm>
          <a:off x="1944791" y="0"/>
          <a:ext cx="1804325" cy="563569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accent1">
              <a:tint val="40000"/>
              <a:hueOff val="0"/>
              <a:satOff val="0"/>
              <a:lumOff val="0"/>
              <a:alphaOff val="0"/>
              <a:shade val="35000"/>
              <a:satMod val="13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Norway</a:t>
          </a:r>
        </a:p>
      </dsp:txBody>
      <dsp:txXfrm>
        <a:off x="1944791" y="0"/>
        <a:ext cx="1804325" cy="1690707"/>
      </dsp:txXfrm>
    </dsp:sp>
    <dsp:sp modelId="{77664A85-91FF-4CF2-BE8B-36C4D382BCC1}">
      <dsp:nvSpPr>
        <dsp:cNvPr id="0" name=""/>
        <dsp:cNvSpPr/>
      </dsp:nvSpPr>
      <dsp:spPr>
        <a:xfrm>
          <a:off x="2125224" y="1691188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Persona Analysis:</a:t>
          </a:r>
          <a:br>
            <a:rPr lang="en-IN" sz="900" b="1" kern="1200" dirty="0"/>
          </a:br>
          <a:r>
            <a:rPr lang="en-IN" sz="900" kern="1200" dirty="0"/>
            <a:t>Visual Learners</a:t>
          </a:r>
        </a:p>
      </dsp:txBody>
      <dsp:txXfrm>
        <a:off x="2157652" y="1723616"/>
        <a:ext cx="1378604" cy="1042331"/>
      </dsp:txXfrm>
    </dsp:sp>
    <dsp:sp modelId="{8FA4A975-0AEC-4556-BF09-B594FC45E716}">
      <dsp:nvSpPr>
        <dsp:cNvPr id="0" name=""/>
        <dsp:cNvSpPr/>
      </dsp:nvSpPr>
      <dsp:spPr>
        <a:xfrm>
          <a:off x="2125224" y="2968712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Buying Cycle Insights</a:t>
          </a:r>
          <a:r>
            <a:rPr lang="en-IN" sz="900" kern="1200" dirty="0"/>
            <a:t>:</a:t>
          </a:r>
          <a:br>
            <a:rPr lang="en-IN" sz="900" kern="1200" dirty="0"/>
          </a:br>
          <a:r>
            <a:rPr lang="en-US" sz="900" kern="1200" dirty="0"/>
            <a:t>Relatively shorter buying cycle as students often make quick decisions based on their preferences.</a:t>
          </a:r>
        </a:p>
      </dsp:txBody>
      <dsp:txXfrm>
        <a:off x="2157652" y="3001140"/>
        <a:ext cx="1378604" cy="1042331"/>
      </dsp:txXfrm>
    </dsp:sp>
    <dsp:sp modelId="{473357E7-299F-4951-A033-54B850035615}">
      <dsp:nvSpPr>
        <dsp:cNvPr id="0" name=""/>
        <dsp:cNvSpPr/>
      </dsp:nvSpPr>
      <dsp:spPr>
        <a:xfrm>
          <a:off x="2125224" y="4246236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Decision Makers and Influencers:</a:t>
          </a:r>
          <a:br>
            <a:rPr lang="en-IN" sz="900" b="1" kern="1200" dirty="0"/>
          </a:br>
          <a:r>
            <a:rPr lang="en-IN" sz="900" kern="1200" dirty="0"/>
            <a:t>Educators and Teachers</a:t>
          </a:r>
          <a:endParaRPr lang="en-US" sz="900" kern="1200" dirty="0"/>
        </a:p>
      </dsp:txBody>
      <dsp:txXfrm>
        <a:off x="2157652" y="4278664"/>
        <a:ext cx="1378604" cy="1042331"/>
      </dsp:txXfrm>
    </dsp:sp>
    <dsp:sp modelId="{F3AA0F07-3494-4CDB-A6C7-C0E57E8F2A6E}">
      <dsp:nvSpPr>
        <dsp:cNvPr id="0" name=""/>
        <dsp:cNvSpPr/>
      </dsp:nvSpPr>
      <dsp:spPr>
        <a:xfrm>
          <a:off x="3884441" y="0"/>
          <a:ext cx="1804325" cy="563569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accent1">
              <a:tint val="40000"/>
              <a:hueOff val="0"/>
              <a:satOff val="0"/>
              <a:lumOff val="0"/>
              <a:alphaOff val="0"/>
              <a:shade val="35000"/>
              <a:satMod val="13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Finland</a:t>
          </a:r>
        </a:p>
      </dsp:txBody>
      <dsp:txXfrm>
        <a:off x="3884441" y="0"/>
        <a:ext cx="1804325" cy="1690707"/>
      </dsp:txXfrm>
    </dsp:sp>
    <dsp:sp modelId="{D5C4BE56-049A-4931-A1DF-E732020EB39D}">
      <dsp:nvSpPr>
        <dsp:cNvPr id="0" name=""/>
        <dsp:cNvSpPr/>
      </dsp:nvSpPr>
      <dsp:spPr>
        <a:xfrm>
          <a:off x="4064873" y="1691188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Persona Analysis</a:t>
          </a:r>
          <a:r>
            <a:rPr lang="en-IN" sz="900" kern="1200" dirty="0"/>
            <a:t>:</a:t>
          </a:r>
          <a:br>
            <a:rPr lang="en-IN" sz="900" kern="1200" dirty="0"/>
          </a:br>
          <a:r>
            <a:rPr lang="en-IN" sz="900" kern="1200" dirty="0"/>
            <a:t>Long-Term Planners</a:t>
          </a:r>
        </a:p>
      </dsp:txBody>
      <dsp:txXfrm>
        <a:off x="4097301" y="1723616"/>
        <a:ext cx="1378604" cy="1042331"/>
      </dsp:txXfrm>
    </dsp:sp>
    <dsp:sp modelId="{1FBBF839-B0D9-4409-9451-2ABCF9277774}">
      <dsp:nvSpPr>
        <dsp:cNvPr id="0" name=""/>
        <dsp:cNvSpPr/>
      </dsp:nvSpPr>
      <dsp:spPr>
        <a:xfrm>
          <a:off x="4064873" y="2968712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Buying Cycle Insights:</a:t>
          </a:r>
          <a:br>
            <a:rPr lang="en-IN" sz="900" b="1" kern="1200" dirty="0"/>
          </a:br>
          <a:r>
            <a:rPr lang="en-US" sz="900" kern="1200" dirty="0"/>
            <a:t>Longer buying cycle due to thorough evaluation of alignment with curriculum goals.</a:t>
          </a:r>
        </a:p>
      </dsp:txBody>
      <dsp:txXfrm>
        <a:off x="4097301" y="3001140"/>
        <a:ext cx="1378604" cy="1042331"/>
      </dsp:txXfrm>
    </dsp:sp>
    <dsp:sp modelId="{90BD17D0-1496-46BE-AA58-AEDB2867A723}">
      <dsp:nvSpPr>
        <dsp:cNvPr id="0" name=""/>
        <dsp:cNvSpPr/>
      </dsp:nvSpPr>
      <dsp:spPr>
        <a:xfrm>
          <a:off x="4064873" y="4246236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Decision Makers and Influencers:</a:t>
          </a:r>
          <a:br>
            <a:rPr lang="en-IN" sz="900" kern="1200" dirty="0"/>
          </a:br>
          <a:r>
            <a:rPr lang="en-US" sz="900" kern="1200" dirty="0"/>
            <a:t>Curriculum Planners and Educational Boards</a:t>
          </a:r>
        </a:p>
      </dsp:txBody>
      <dsp:txXfrm>
        <a:off x="4097301" y="4278664"/>
        <a:ext cx="1378604" cy="1042331"/>
      </dsp:txXfrm>
    </dsp:sp>
    <dsp:sp modelId="{C9771A28-1A0E-46DF-9843-D636FDEF4CD4}">
      <dsp:nvSpPr>
        <dsp:cNvPr id="0" name=""/>
        <dsp:cNvSpPr/>
      </dsp:nvSpPr>
      <dsp:spPr>
        <a:xfrm>
          <a:off x="5824091" y="0"/>
          <a:ext cx="1804325" cy="563569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accent1">
              <a:tint val="40000"/>
              <a:hueOff val="0"/>
              <a:satOff val="0"/>
              <a:lumOff val="0"/>
              <a:alphaOff val="0"/>
              <a:shade val="35000"/>
              <a:satMod val="13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Denmark</a:t>
          </a:r>
        </a:p>
      </dsp:txBody>
      <dsp:txXfrm>
        <a:off x="5824091" y="0"/>
        <a:ext cx="1804325" cy="1690707"/>
      </dsp:txXfrm>
    </dsp:sp>
    <dsp:sp modelId="{F4C90269-663A-427D-AA5B-BDE887621D27}">
      <dsp:nvSpPr>
        <dsp:cNvPr id="0" name=""/>
        <dsp:cNvSpPr/>
      </dsp:nvSpPr>
      <dsp:spPr>
        <a:xfrm>
          <a:off x="6004523" y="1691188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Persona Analysis:</a:t>
          </a:r>
          <a:br>
            <a:rPr lang="en-IN" sz="900" b="1" kern="1200" dirty="0"/>
          </a:br>
          <a:r>
            <a:rPr lang="en-IN" sz="900" kern="1200" dirty="0"/>
            <a:t>Pragmatic Educators</a:t>
          </a:r>
          <a:endParaRPr lang="en-US" sz="900" kern="1200" dirty="0"/>
        </a:p>
      </dsp:txBody>
      <dsp:txXfrm>
        <a:off x="6036951" y="1723616"/>
        <a:ext cx="1378604" cy="1042331"/>
      </dsp:txXfrm>
    </dsp:sp>
    <dsp:sp modelId="{4AF0AED5-CE1D-451F-9FC2-6EE10C5CDEDF}">
      <dsp:nvSpPr>
        <dsp:cNvPr id="0" name=""/>
        <dsp:cNvSpPr/>
      </dsp:nvSpPr>
      <dsp:spPr>
        <a:xfrm>
          <a:off x="6004523" y="2968712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Buying Cycle Insights:</a:t>
          </a:r>
          <a:br>
            <a:rPr lang="en-IN" sz="900" b="1" kern="1200" dirty="0"/>
          </a:br>
          <a:r>
            <a:rPr lang="en-US" sz="900" kern="1200" dirty="0"/>
            <a:t>Faster decision-making process due to a focus on immediate benefits.</a:t>
          </a:r>
        </a:p>
      </dsp:txBody>
      <dsp:txXfrm>
        <a:off x="6036951" y="3001140"/>
        <a:ext cx="1378604" cy="1042331"/>
      </dsp:txXfrm>
    </dsp:sp>
    <dsp:sp modelId="{AEA95E18-17C3-4543-B9B8-8E5179A8265C}">
      <dsp:nvSpPr>
        <dsp:cNvPr id="0" name=""/>
        <dsp:cNvSpPr/>
      </dsp:nvSpPr>
      <dsp:spPr>
        <a:xfrm>
          <a:off x="6004523" y="4246236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Decision Makers and Influencers:</a:t>
          </a:r>
          <a:br>
            <a:rPr lang="en-IN" sz="900" b="1" kern="1200" dirty="0"/>
          </a:br>
          <a:r>
            <a:rPr lang="en-IN" sz="900" kern="1200" dirty="0"/>
            <a:t>Department Heads and Educators</a:t>
          </a:r>
          <a:endParaRPr lang="en-US" sz="900" kern="1200" dirty="0"/>
        </a:p>
      </dsp:txBody>
      <dsp:txXfrm>
        <a:off x="6036951" y="4278664"/>
        <a:ext cx="1378604" cy="1042331"/>
      </dsp:txXfrm>
    </dsp:sp>
    <dsp:sp modelId="{67DA5FB5-C5AF-47C9-8BD2-222992703A2C}">
      <dsp:nvSpPr>
        <dsp:cNvPr id="0" name=""/>
        <dsp:cNvSpPr/>
      </dsp:nvSpPr>
      <dsp:spPr>
        <a:xfrm>
          <a:off x="7763740" y="0"/>
          <a:ext cx="1804325" cy="563569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accent1">
              <a:tint val="40000"/>
              <a:hueOff val="0"/>
              <a:satOff val="0"/>
              <a:lumOff val="0"/>
              <a:alphaOff val="0"/>
              <a:shade val="35000"/>
              <a:satMod val="13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Iceland</a:t>
          </a:r>
        </a:p>
      </dsp:txBody>
      <dsp:txXfrm>
        <a:off x="7763740" y="0"/>
        <a:ext cx="1804325" cy="1690707"/>
      </dsp:txXfrm>
    </dsp:sp>
    <dsp:sp modelId="{2AB14B74-F3CF-4A00-9F2D-D788AF93742E}">
      <dsp:nvSpPr>
        <dsp:cNvPr id="0" name=""/>
        <dsp:cNvSpPr/>
      </dsp:nvSpPr>
      <dsp:spPr>
        <a:xfrm>
          <a:off x="7944173" y="1691188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Persona Analysis:</a:t>
          </a:r>
          <a:br>
            <a:rPr lang="en-IN" sz="900" b="1" kern="1200" dirty="0"/>
          </a:br>
          <a:r>
            <a:rPr lang="en-IN" sz="900" b="0" i="0" kern="1200" dirty="0"/>
            <a:t>Customization-Seeking Educators</a:t>
          </a:r>
          <a:endParaRPr lang="en-US" sz="900" kern="1200" dirty="0"/>
        </a:p>
      </dsp:txBody>
      <dsp:txXfrm>
        <a:off x="7976601" y="1723616"/>
        <a:ext cx="1378604" cy="1042331"/>
      </dsp:txXfrm>
    </dsp:sp>
    <dsp:sp modelId="{73C96FA2-0479-4023-BAD5-AEDCE808D166}">
      <dsp:nvSpPr>
        <dsp:cNvPr id="0" name=""/>
        <dsp:cNvSpPr/>
      </dsp:nvSpPr>
      <dsp:spPr>
        <a:xfrm>
          <a:off x="7944173" y="2968712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Buying Cycle Insights</a:t>
          </a:r>
          <a:r>
            <a:rPr lang="en-IN" sz="900" kern="1200" dirty="0"/>
            <a:t>:</a:t>
          </a:r>
          <a:br>
            <a:rPr lang="en-IN" sz="900" kern="1200" dirty="0"/>
          </a:br>
          <a:r>
            <a:rPr lang="en-US" sz="900" kern="1200" dirty="0"/>
            <a:t>Moderate to longer buying cycle as educators explore the level of customization and alignment with local needs..</a:t>
          </a:r>
        </a:p>
      </dsp:txBody>
      <dsp:txXfrm>
        <a:off x="7976601" y="3001140"/>
        <a:ext cx="1378604" cy="1042331"/>
      </dsp:txXfrm>
    </dsp:sp>
    <dsp:sp modelId="{6FBA2EAE-19DC-4B12-832A-246EE7120B66}">
      <dsp:nvSpPr>
        <dsp:cNvPr id="0" name=""/>
        <dsp:cNvSpPr/>
      </dsp:nvSpPr>
      <dsp:spPr>
        <a:xfrm>
          <a:off x="7944173" y="4246236"/>
          <a:ext cx="1443460" cy="1107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accent1">
              <a:hueOff val="0"/>
              <a:satOff val="0"/>
              <a:lumOff val="0"/>
              <a:alphaOff val="0"/>
              <a:shade val="25000"/>
              <a:satMod val="14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900" b="1" kern="1200" dirty="0"/>
            <a:t>Decision Makers and Influencers:</a:t>
          </a:r>
          <a:br>
            <a:rPr lang="en-IN" sz="900" b="1" kern="1200" dirty="0"/>
          </a:br>
          <a:r>
            <a:rPr lang="en-US" sz="900" kern="1200" dirty="0"/>
            <a:t>Head Teachers and Curriculum Coordinators</a:t>
          </a:r>
        </a:p>
      </dsp:txBody>
      <dsp:txXfrm>
        <a:off x="7976601" y="4278664"/>
        <a:ext cx="1378604" cy="1042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4773F-A4C2-4806-9524-E5F6A173F7BB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7A622-9BBC-4B01-9F24-BEB87024AC2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15469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6" name="Google Shape;2586;g92a1ad2113_0_5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87" name="Google Shape;2587;g92a1ad2113_0_5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6" name="Google Shape;2586;g92a1ad2113_0_5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87" name="Google Shape;2587;g92a1ad2113_0_5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8027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8" name="Google Shape;1688;g929290261e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89" name="Google Shape;1689;g929290261e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2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1872" y="4800600"/>
            <a:ext cx="9418320" cy="1691640"/>
          </a:xfrm>
        </p:spPr>
        <p:txBody>
          <a:bodyPr>
            <a:normAutofit/>
          </a:bodyPr>
          <a:lstStyle>
            <a:lvl1pPr marL="0" indent="0" algn="l">
              <a:buNone/>
              <a:defRPr sz="220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</a:schemeClr>
                </a:solidFill>
              </a:defRPr>
            </a:lvl1pPr>
          </a:lstStyle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609634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690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48700" y="381000"/>
            <a:ext cx="247650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381000"/>
            <a:ext cx="7734300" cy="5897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7549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99348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21685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94184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83189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825958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615784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96352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923993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1603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169113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071623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1967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1872" y="758952"/>
            <a:ext cx="9418320" cy="4041648"/>
          </a:xfrm>
        </p:spPr>
        <p:txBody>
          <a:bodyPr anchor="b">
            <a:normAutofit/>
          </a:bodyPr>
          <a:lstStyle>
            <a:lvl1pPr>
              <a:lnSpc>
                <a:spcPct val="85000"/>
              </a:lnSpc>
              <a:defRPr sz="7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4800600"/>
            <a:ext cx="9418320" cy="1691640"/>
          </a:xfr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94018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1872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6480" y="1828800"/>
            <a:ext cx="4480560" cy="435133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2422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1872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26480" y="1713655"/>
            <a:ext cx="4480560" cy="731520"/>
          </a:xfrm>
        </p:spPr>
        <p:txBody>
          <a:bodyPr anchor="b">
            <a:norm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26480" y="2507550"/>
            <a:ext cx="4480560" cy="36646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362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66968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996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200400" cy="1600197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267" y="685800"/>
            <a:ext cx="6079066" cy="5486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99734"/>
            <a:ext cx="3200400" cy="3810001"/>
          </a:xfrm>
        </p:spPr>
        <p:txBody>
          <a:bodyPr>
            <a:normAutofit/>
          </a:bodyPr>
          <a:lstStyle>
            <a:lvl1pPr marL="0" indent="0">
              <a:lnSpc>
                <a:spcPct val="114000"/>
              </a:lnSpc>
              <a:spcBef>
                <a:spcPts val="800"/>
              </a:spcBef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5770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05400"/>
            <a:ext cx="11292840" cy="1752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257800"/>
            <a:ext cx="9982200" cy="914400"/>
          </a:xfrm>
        </p:spPr>
        <p:txBody>
          <a:bodyPr anchor="b">
            <a:norm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1292840" cy="5128923"/>
          </a:xfrm>
          <a:solidFill>
            <a:schemeClr val="accent1"/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6108589"/>
            <a:ext cx="9982200" cy="5970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3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278135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292840" y="0"/>
            <a:ext cx="9144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1872" y="365760"/>
            <a:ext cx="9692640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872" y="1828800"/>
            <a:ext cx="859536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797542" y="998537"/>
            <a:ext cx="190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fld id="{4949A5B8-8A54-45F0-8C71-74B745444D4C}" type="datetimeFigureOut">
              <a:rPr lang="en-IN" smtClean="0"/>
              <a:t>09-05-2024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9959341" y="4046537"/>
            <a:ext cx="358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2840" y="6172200"/>
            <a:ext cx="914400" cy="593725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A4499A1E-A577-4DF3-A1C7-71DBF39595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78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5000"/>
        </a:lnSpc>
        <a:spcBef>
          <a:spcPts val="1400"/>
        </a:spcBef>
        <a:spcAft>
          <a:spcPts val="200"/>
        </a:spcAft>
        <a:buClr>
          <a:schemeClr val="accent1"/>
        </a:buClr>
        <a:buSzPct val="80000"/>
        <a:buFont typeface="Arial" pitchFamily="34" charset="0"/>
        <a:buChar char="•"/>
        <a:defRPr sz="18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859999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8C529-9A8C-2389-8E74-27A5EDA3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1810" y="1726163"/>
            <a:ext cx="9418320" cy="2392392"/>
          </a:xfrm>
        </p:spPr>
        <p:txBody>
          <a:bodyPr>
            <a:normAutofit/>
          </a:bodyPr>
          <a:lstStyle/>
          <a:p>
            <a:r>
              <a:rPr lang="en-US" sz="5400" dirty="0"/>
              <a:t>Building a GTM Plan: MH Complete and MH Complete Plus into Nordic market</a:t>
            </a:r>
            <a:endParaRPr lang="en-IN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D099A1-A38A-067C-1CE0-451800C943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09804" y="6428791"/>
            <a:ext cx="3782196" cy="429209"/>
          </a:xfrm>
        </p:spPr>
        <p:txBody>
          <a:bodyPr>
            <a:normAutofit fontScale="92500"/>
          </a:bodyPr>
          <a:lstStyle/>
          <a:p>
            <a:r>
              <a:rPr lang="en-IN" dirty="0"/>
              <a:t>Presented by - Group No. 41</a:t>
            </a:r>
          </a:p>
          <a:p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F4104A-7B18-18ED-7D79-A1362AFCF8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99" y="5613761"/>
            <a:ext cx="2007219" cy="11581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E250B4-519D-9EA3-4F47-7EF61EE145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452110" cy="14528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3BAF0E-D577-B63E-9FE1-229B3B0653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289" y="86061"/>
            <a:ext cx="1289012" cy="128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734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9">
            <a:extLst>
              <a:ext uri="{FF2B5EF4-FFF2-40B4-BE49-F238E27FC236}">
                <a16:creationId xmlns:a16="http://schemas.microsoft.com/office/drawing/2014/main" id="{28FB04A7-9830-93EA-4839-AE1266C6F535}"/>
              </a:ext>
            </a:extLst>
          </p:cNvPr>
          <p:cNvSpPr txBox="1">
            <a:spLocks/>
          </p:cNvSpPr>
          <p:nvPr/>
        </p:nvSpPr>
        <p:spPr>
          <a:xfrm>
            <a:off x="3210425" y="211682"/>
            <a:ext cx="5952236" cy="110697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tential Partnership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Contd.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78D158-6E6A-2C2E-BE7D-F05697E67B28}"/>
              </a:ext>
            </a:extLst>
          </p:cNvPr>
          <p:cNvGrpSpPr/>
          <p:nvPr/>
        </p:nvGrpSpPr>
        <p:grpSpPr>
          <a:xfrm>
            <a:off x="2750448" y="1330750"/>
            <a:ext cx="7072977" cy="4864137"/>
            <a:chOff x="1011843" y="1677391"/>
            <a:chExt cx="7072977" cy="486413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279A8D-F259-8759-A209-34037DEB5B16}"/>
                </a:ext>
              </a:extLst>
            </p:cNvPr>
            <p:cNvGrpSpPr/>
            <p:nvPr/>
          </p:nvGrpSpPr>
          <p:grpSpPr>
            <a:xfrm>
              <a:off x="2965919" y="2839741"/>
              <a:ext cx="3115790" cy="3064314"/>
              <a:chOff x="2787370" y="2311543"/>
              <a:chExt cx="3427369" cy="3370745"/>
            </a:xfrm>
          </p:grpSpPr>
          <p:sp>
            <p:nvSpPr>
              <p:cNvPr id="78" name="Freeform 52">
                <a:extLst>
                  <a:ext uri="{FF2B5EF4-FFF2-40B4-BE49-F238E27FC236}">
                    <a16:creationId xmlns:a16="http://schemas.microsoft.com/office/drawing/2014/main" id="{E9D973FE-7FD5-737D-469C-21695600C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995" y="3360737"/>
                <a:ext cx="1247708" cy="2321551"/>
              </a:xfrm>
              <a:custGeom>
                <a:avLst/>
                <a:gdLst>
                  <a:gd name="T0" fmla="*/ 792 w 792"/>
                  <a:gd name="T1" fmla="*/ 1302 h 1474"/>
                  <a:gd name="T2" fmla="*/ 149 w 792"/>
                  <a:gd name="T3" fmla="*/ 1185 h 1474"/>
                  <a:gd name="T4" fmla="*/ 29 w 792"/>
                  <a:gd name="T5" fmla="*/ 717 h 1474"/>
                  <a:gd name="T6" fmla="*/ 179 w 792"/>
                  <a:gd name="T7" fmla="*/ 73 h 1474"/>
                  <a:gd name="T8" fmla="*/ 608 w 792"/>
                  <a:gd name="T9" fmla="*/ 33 h 1474"/>
                  <a:gd name="T10" fmla="*/ 239 w 792"/>
                  <a:gd name="T11" fmla="*/ 966 h 1474"/>
                  <a:gd name="T12" fmla="*/ 758 w 792"/>
                  <a:gd name="T13" fmla="*/ 1290 h 1474"/>
                  <a:gd name="T14" fmla="*/ 792 w 792"/>
                  <a:gd name="T15" fmla="*/ 1302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2" h="1474">
                    <a:moveTo>
                      <a:pt x="792" y="1302"/>
                    </a:moveTo>
                    <a:cubicBezTo>
                      <a:pt x="792" y="1302"/>
                      <a:pt x="365" y="1459"/>
                      <a:pt x="149" y="1185"/>
                    </a:cubicBezTo>
                    <a:cubicBezTo>
                      <a:pt x="52" y="1062"/>
                      <a:pt x="54" y="905"/>
                      <a:pt x="29" y="717"/>
                    </a:cubicBezTo>
                    <a:cubicBezTo>
                      <a:pt x="0" y="495"/>
                      <a:pt x="95" y="219"/>
                      <a:pt x="179" y="73"/>
                    </a:cubicBezTo>
                    <a:cubicBezTo>
                      <a:pt x="179" y="73"/>
                      <a:pt x="352" y="0"/>
                      <a:pt x="608" y="33"/>
                    </a:cubicBezTo>
                    <a:cubicBezTo>
                      <a:pt x="608" y="33"/>
                      <a:pt x="216" y="534"/>
                      <a:pt x="239" y="966"/>
                    </a:cubicBezTo>
                    <a:cubicBezTo>
                      <a:pt x="239" y="966"/>
                      <a:pt x="232" y="1474"/>
                      <a:pt x="758" y="1290"/>
                    </a:cubicBezTo>
                    <a:lnTo>
                      <a:pt x="792" y="1302"/>
                    </a:lnTo>
                    <a:close/>
                  </a:path>
                </a:pathLst>
              </a:custGeom>
              <a:solidFill>
                <a:srgbClr val="78D2D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1C168AB4-3100-6A84-DF52-F20CF82A1C0E}"/>
                  </a:ext>
                </a:extLst>
              </p:cNvPr>
              <p:cNvGrpSpPr/>
              <p:nvPr/>
            </p:nvGrpSpPr>
            <p:grpSpPr>
              <a:xfrm>
                <a:off x="2983887" y="2566680"/>
                <a:ext cx="2930416" cy="3007025"/>
                <a:chOff x="2983887" y="2297131"/>
                <a:chExt cx="2930416" cy="3007025"/>
              </a:xfrm>
            </p:grpSpPr>
            <p:sp>
              <p:nvSpPr>
                <p:cNvPr id="94" name="Freeform 45">
                  <a:extLst>
                    <a:ext uri="{FF2B5EF4-FFF2-40B4-BE49-F238E27FC236}">
                      <a16:creationId xmlns:a16="http://schemas.microsoft.com/office/drawing/2014/main" id="{2A1019CF-D5E4-3122-52A0-D0DA9E43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3887" y="3338331"/>
                  <a:ext cx="408354" cy="836025"/>
                </a:xfrm>
                <a:custGeom>
                  <a:avLst/>
                  <a:gdLst>
                    <a:gd name="T0" fmla="*/ 215 w 259"/>
                    <a:gd name="T1" fmla="*/ 0 h 531"/>
                    <a:gd name="T2" fmla="*/ 218 w 259"/>
                    <a:gd name="T3" fmla="*/ 531 h 531"/>
                    <a:gd name="T4" fmla="*/ 259 w 259"/>
                    <a:gd name="T5" fmla="*/ 199 h 531"/>
                    <a:gd name="T6" fmla="*/ 215 w 259"/>
                    <a:gd name="T7" fmla="*/ 0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9" h="531">
                      <a:moveTo>
                        <a:pt x="215" y="0"/>
                      </a:moveTo>
                      <a:cubicBezTo>
                        <a:pt x="106" y="87"/>
                        <a:pt x="0" y="257"/>
                        <a:pt x="218" y="531"/>
                      </a:cubicBezTo>
                      <a:cubicBezTo>
                        <a:pt x="202" y="384"/>
                        <a:pt x="259" y="199"/>
                        <a:pt x="259" y="199"/>
                      </a:cubicBezTo>
                      <a:cubicBezTo>
                        <a:pt x="207" y="139"/>
                        <a:pt x="215" y="0"/>
                        <a:pt x="215" y="0"/>
                      </a:cubicBez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5" name="Freeform 46">
                  <a:extLst>
                    <a:ext uri="{FF2B5EF4-FFF2-40B4-BE49-F238E27FC236}">
                      <a16:creationId xmlns:a16="http://schemas.microsoft.com/office/drawing/2014/main" id="{F72A78C8-C36E-D3EE-1366-39B209189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9337" y="4878482"/>
                  <a:ext cx="774739" cy="425674"/>
                </a:xfrm>
                <a:custGeom>
                  <a:avLst/>
                  <a:gdLst>
                    <a:gd name="T0" fmla="*/ 0 w 492"/>
                    <a:gd name="T1" fmla="*/ 0 h 270"/>
                    <a:gd name="T2" fmla="*/ 492 w 492"/>
                    <a:gd name="T3" fmla="*/ 155 h 270"/>
                    <a:gd name="T4" fmla="*/ 208 w 492"/>
                    <a:gd name="T5" fmla="*/ 11 h 270"/>
                    <a:gd name="T6" fmla="*/ 0 w 492"/>
                    <a:gd name="T7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2" h="270">
                      <a:moveTo>
                        <a:pt x="0" y="0"/>
                      </a:moveTo>
                      <a:cubicBezTo>
                        <a:pt x="47" y="132"/>
                        <a:pt x="161" y="270"/>
                        <a:pt x="492" y="155"/>
                      </a:cubicBezTo>
                      <a:cubicBezTo>
                        <a:pt x="362" y="106"/>
                        <a:pt x="208" y="11"/>
                        <a:pt x="208" y="11"/>
                      </a:cubicBezTo>
                      <a:cubicBezTo>
                        <a:pt x="134" y="40"/>
                        <a:pt x="1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78D2D2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6" name="Freeform 47">
                  <a:extLst>
                    <a:ext uri="{FF2B5EF4-FFF2-40B4-BE49-F238E27FC236}">
                      <a16:creationId xmlns:a16="http://schemas.microsoft.com/office/drawing/2014/main" id="{B15CBE46-CE81-F9FE-27AE-6CC771E5A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9206" y="2297131"/>
                  <a:ext cx="798720" cy="645505"/>
                </a:xfrm>
                <a:custGeom>
                  <a:avLst/>
                  <a:gdLst>
                    <a:gd name="T0" fmla="*/ 507 w 507"/>
                    <a:gd name="T1" fmla="*/ 133 h 410"/>
                    <a:gd name="T2" fmla="*/ 0 w 507"/>
                    <a:gd name="T3" fmla="*/ 304 h 410"/>
                    <a:gd name="T4" fmla="*/ 328 w 507"/>
                    <a:gd name="T5" fmla="*/ 239 h 410"/>
                    <a:gd name="T6" fmla="*/ 507 w 507"/>
                    <a:gd name="T7" fmla="*/ 133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7" h="410">
                      <a:moveTo>
                        <a:pt x="507" y="133"/>
                      </a:moveTo>
                      <a:cubicBezTo>
                        <a:pt x="384" y="53"/>
                        <a:pt x="200" y="0"/>
                        <a:pt x="0" y="304"/>
                      </a:cubicBezTo>
                      <a:cubicBezTo>
                        <a:pt x="238" y="410"/>
                        <a:pt x="328" y="239"/>
                        <a:pt x="328" y="239"/>
                      </a:cubicBezTo>
                      <a:cubicBezTo>
                        <a:pt x="369" y="171"/>
                        <a:pt x="507" y="133"/>
                        <a:pt x="507" y="133"/>
                      </a:cubicBezTo>
                      <a:close/>
                    </a:path>
                  </a:pathLst>
                </a:custGeom>
                <a:solidFill>
                  <a:srgbClr val="25232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7" name="Freeform 48">
                  <a:extLst>
                    <a:ext uri="{FF2B5EF4-FFF2-40B4-BE49-F238E27FC236}">
                      <a16:creationId xmlns:a16="http://schemas.microsoft.com/office/drawing/2014/main" id="{4198DF10-174A-4EEB-010C-2939514CF4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4051" y="2868692"/>
                  <a:ext cx="540252" cy="648835"/>
                </a:xfrm>
                <a:custGeom>
                  <a:avLst/>
                  <a:gdLst>
                    <a:gd name="T0" fmla="*/ 309 w 343"/>
                    <a:gd name="T1" fmla="*/ 412 h 412"/>
                    <a:gd name="T2" fmla="*/ 0 w 343"/>
                    <a:gd name="T3" fmla="*/ 0 h 412"/>
                    <a:gd name="T4" fmla="*/ 159 w 343"/>
                    <a:gd name="T5" fmla="*/ 289 h 412"/>
                    <a:gd name="T6" fmla="*/ 309 w 343"/>
                    <a:gd name="T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3" h="412">
                      <a:moveTo>
                        <a:pt x="309" y="412"/>
                      </a:moveTo>
                      <a:cubicBezTo>
                        <a:pt x="343" y="306"/>
                        <a:pt x="336" y="98"/>
                        <a:pt x="0" y="0"/>
                      </a:cubicBezTo>
                      <a:cubicBezTo>
                        <a:pt x="46" y="153"/>
                        <a:pt x="56" y="215"/>
                        <a:pt x="159" y="289"/>
                      </a:cubicBezTo>
                      <a:cubicBezTo>
                        <a:pt x="237" y="308"/>
                        <a:pt x="309" y="411"/>
                        <a:pt x="309" y="412"/>
                      </a:cubicBezTo>
                      <a:close/>
                    </a:path>
                  </a:pathLst>
                </a:custGeom>
                <a:solidFill>
                  <a:srgbClr val="76717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8" name="Freeform 49">
                  <a:extLst>
                    <a:ext uri="{FF2B5EF4-FFF2-40B4-BE49-F238E27FC236}">
                      <a16:creationId xmlns:a16="http://schemas.microsoft.com/office/drawing/2014/main" id="{BB3E5971-4B23-3DFA-22FC-74C032DD17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1463" y="4355550"/>
                  <a:ext cx="482296" cy="634845"/>
                </a:xfrm>
                <a:custGeom>
                  <a:avLst/>
                  <a:gdLst>
                    <a:gd name="T0" fmla="*/ 0 w 306"/>
                    <a:gd name="T1" fmla="*/ 403 h 403"/>
                    <a:gd name="T2" fmla="*/ 294 w 306"/>
                    <a:gd name="T3" fmla="*/ 0 h 403"/>
                    <a:gd name="T4" fmla="*/ 78 w 306"/>
                    <a:gd name="T5" fmla="*/ 219 h 403"/>
                    <a:gd name="T6" fmla="*/ 0 w 306"/>
                    <a:gd name="T7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6" h="403">
                      <a:moveTo>
                        <a:pt x="0" y="403"/>
                      </a:moveTo>
                      <a:cubicBezTo>
                        <a:pt x="140" y="398"/>
                        <a:pt x="306" y="350"/>
                        <a:pt x="294" y="0"/>
                      </a:cubicBezTo>
                      <a:cubicBezTo>
                        <a:pt x="228" y="64"/>
                        <a:pt x="78" y="219"/>
                        <a:pt x="78" y="219"/>
                      </a:cubicBezTo>
                      <a:cubicBezTo>
                        <a:pt x="84" y="298"/>
                        <a:pt x="0" y="403"/>
                        <a:pt x="0" y="403"/>
                      </a:cubicBezTo>
                      <a:close/>
                    </a:path>
                  </a:pathLst>
                </a:custGeom>
                <a:solidFill>
                  <a:srgbClr val="E2583D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</p:grpSp>
          <p:sp>
            <p:nvSpPr>
              <p:cNvPr id="80" name="Freeform 51">
                <a:extLst>
                  <a:ext uri="{FF2B5EF4-FFF2-40B4-BE49-F238E27FC236}">
                    <a16:creationId xmlns:a16="http://schemas.microsoft.com/office/drawing/2014/main" id="{F519DD7F-8687-3C02-36D9-1E1EC8077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7370" y="2925737"/>
                <a:ext cx="2348863" cy="1576789"/>
              </a:xfrm>
              <a:custGeom>
                <a:avLst/>
                <a:gdLst>
                  <a:gd name="T0" fmla="*/ 341 w 1491"/>
                  <a:gd name="T1" fmla="*/ 1001 h 1001"/>
                  <a:gd name="T2" fmla="*/ 235 w 1491"/>
                  <a:gd name="T3" fmla="*/ 356 h 1001"/>
                  <a:gd name="T4" fmla="*/ 665 w 1491"/>
                  <a:gd name="T5" fmla="*/ 80 h 1001"/>
                  <a:gd name="T6" fmla="*/ 1324 w 1491"/>
                  <a:gd name="T7" fmla="*/ 30 h 1001"/>
                  <a:gd name="T8" fmla="*/ 1491 w 1491"/>
                  <a:gd name="T9" fmla="*/ 412 h 1001"/>
                  <a:gd name="T10" fmla="*/ 473 w 1491"/>
                  <a:gd name="T11" fmla="*/ 360 h 1001"/>
                  <a:gd name="T12" fmla="*/ 347 w 1491"/>
                  <a:gd name="T13" fmla="*/ 966 h 1001"/>
                  <a:gd name="T14" fmla="*/ 341 w 1491"/>
                  <a:gd name="T15" fmla="*/ 1001 h 10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1" h="1001">
                    <a:moveTo>
                      <a:pt x="341" y="1001"/>
                    </a:moveTo>
                    <a:cubicBezTo>
                      <a:pt x="341" y="1001"/>
                      <a:pt x="48" y="651"/>
                      <a:pt x="235" y="356"/>
                    </a:cubicBezTo>
                    <a:cubicBezTo>
                      <a:pt x="319" y="225"/>
                      <a:pt x="482" y="135"/>
                      <a:pt x="665" y="80"/>
                    </a:cubicBezTo>
                    <a:cubicBezTo>
                      <a:pt x="891" y="13"/>
                      <a:pt x="1158" y="0"/>
                      <a:pt x="1324" y="30"/>
                    </a:cubicBezTo>
                    <a:cubicBezTo>
                      <a:pt x="1324" y="30"/>
                      <a:pt x="1462" y="194"/>
                      <a:pt x="1491" y="412"/>
                    </a:cubicBezTo>
                    <a:cubicBezTo>
                      <a:pt x="1491" y="412"/>
                      <a:pt x="847" y="221"/>
                      <a:pt x="473" y="360"/>
                    </a:cubicBezTo>
                    <a:cubicBezTo>
                      <a:pt x="473" y="360"/>
                      <a:pt x="0" y="531"/>
                      <a:pt x="347" y="966"/>
                    </a:cubicBezTo>
                    <a:lnTo>
                      <a:pt x="341" y="1001"/>
                    </a:lnTo>
                    <a:close/>
                  </a:path>
                </a:pathLst>
              </a:custGeom>
              <a:solidFill>
                <a:srgbClr val="E7E6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C190DD4A-F8CB-DC3B-5970-C118B7AC04EB}"/>
                  </a:ext>
                </a:extLst>
              </p:cNvPr>
              <p:cNvGrpSpPr/>
              <p:nvPr/>
            </p:nvGrpSpPr>
            <p:grpSpPr>
              <a:xfrm>
                <a:off x="3636052" y="2311543"/>
                <a:ext cx="2578687" cy="3225522"/>
                <a:chOff x="3636052" y="2311543"/>
                <a:chExt cx="2578687" cy="3225522"/>
              </a:xfrm>
            </p:grpSpPr>
            <p:sp>
              <p:nvSpPr>
                <p:cNvPr id="82" name="Line 50">
                  <a:extLst>
                    <a:ext uri="{FF2B5EF4-FFF2-40B4-BE49-F238E27FC236}">
                      <a16:creationId xmlns:a16="http://schemas.microsoft.com/office/drawing/2014/main" id="{DF2F8F54-2B72-432E-BAFB-EB6C9C9048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33645" y="4497863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3" name="Line 54">
                  <a:extLst>
                    <a:ext uri="{FF2B5EF4-FFF2-40B4-BE49-F238E27FC236}">
                      <a16:creationId xmlns:a16="http://schemas.microsoft.com/office/drawing/2014/main" id="{1B8DF906-AC00-4948-E304-8685241EBF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53142" y="4113492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4" name="Freeform 56">
                  <a:extLst>
                    <a:ext uri="{FF2B5EF4-FFF2-40B4-BE49-F238E27FC236}">
                      <a16:creationId xmlns:a16="http://schemas.microsoft.com/office/drawing/2014/main" id="{19152738-F568-3EC7-DE65-F5EA14BD18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6052" y="4208086"/>
                  <a:ext cx="2206972" cy="1328979"/>
                </a:xfrm>
                <a:custGeom>
                  <a:avLst/>
                  <a:gdLst>
                    <a:gd name="T0" fmla="*/ 1353 w 1401"/>
                    <a:gd name="T1" fmla="*/ 229 h 844"/>
                    <a:gd name="T2" fmla="*/ 1075 w 1401"/>
                    <a:gd name="T3" fmla="*/ 789 h 844"/>
                    <a:gd name="T4" fmla="*/ 551 w 1401"/>
                    <a:gd name="T5" fmla="*/ 761 h 844"/>
                    <a:gd name="T6" fmla="*/ 9 w 1401"/>
                    <a:gd name="T7" fmla="*/ 419 h 844"/>
                    <a:gd name="T8" fmla="*/ 88 w 1401"/>
                    <a:gd name="T9" fmla="*/ 0 h 844"/>
                    <a:gd name="T10" fmla="*/ 863 w 1401"/>
                    <a:gd name="T11" fmla="*/ 641 h 844"/>
                    <a:gd name="T12" fmla="*/ 1329 w 1401"/>
                    <a:gd name="T13" fmla="*/ 260 h 844"/>
                    <a:gd name="T14" fmla="*/ 1353 w 1401"/>
                    <a:gd name="T15" fmla="*/ 229 h 8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1" h="844">
                      <a:moveTo>
                        <a:pt x="1353" y="229"/>
                      </a:moveTo>
                      <a:cubicBezTo>
                        <a:pt x="1353" y="229"/>
                        <a:pt x="1401" y="664"/>
                        <a:pt x="1075" y="789"/>
                      </a:cubicBezTo>
                      <a:cubicBezTo>
                        <a:pt x="929" y="844"/>
                        <a:pt x="730" y="826"/>
                        <a:pt x="551" y="761"/>
                      </a:cubicBezTo>
                      <a:cubicBezTo>
                        <a:pt x="329" y="680"/>
                        <a:pt x="123" y="543"/>
                        <a:pt x="9" y="419"/>
                      </a:cubicBezTo>
                      <a:cubicBezTo>
                        <a:pt x="9" y="419"/>
                        <a:pt x="0" y="167"/>
                        <a:pt x="88" y="0"/>
                      </a:cubicBezTo>
                      <a:cubicBezTo>
                        <a:pt x="88" y="0"/>
                        <a:pt x="480" y="528"/>
                        <a:pt x="863" y="641"/>
                      </a:cubicBezTo>
                      <a:cubicBezTo>
                        <a:pt x="863" y="641"/>
                        <a:pt x="1347" y="817"/>
                        <a:pt x="1329" y="260"/>
                      </a:cubicBezTo>
                      <a:lnTo>
                        <a:pt x="1353" y="229"/>
                      </a:lnTo>
                      <a:close/>
                    </a:path>
                  </a:pathLst>
                </a:custGeom>
                <a:solidFill>
                  <a:srgbClr val="E2583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5" name="Freeform 55">
                  <a:extLst>
                    <a:ext uri="{FF2B5EF4-FFF2-40B4-BE49-F238E27FC236}">
                      <a16:creationId xmlns:a16="http://schemas.microsoft.com/office/drawing/2014/main" id="{82D96268-EFE0-9720-3251-F83C31370E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5446" y="3078287"/>
                  <a:ext cx="1789293" cy="2142355"/>
                </a:xfrm>
                <a:custGeom>
                  <a:avLst/>
                  <a:gdLst>
                    <a:gd name="T0" fmla="*/ 575 w 1136"/>
                    <a:gd name="T1" fmla="*/ 0 h 1360"/>
                    <a:gd name="T2" fmla="*/ 1047 w 1136"/>
                    <a:gd name="T3" fmla="*/ 496 h 1360"/>
                    <a:gd name="T4" fmla="*/ 847 w 1136"/>
                    <a:gd name="T5" fmla="*/ 962 h 1360"/>
                    <a:gd name="T6" fmla="*/ 368 w 1136"/>
                    <a:gd name="T7" fmla="*/ 1360 h 1360"/>
                    <a:gd name="T8" fmla="*/ 0 w 1136"/>
                    <a:gd name="T9" fmla="*/ 1149 h 1360"/>
                    <a:gd name="T10" fmla="*/ 833 w 1136"/>
                    <a:gd name="T11" fmla="*/ 612 h 1360"/>
                    <a:gd name="T12" fmla="*/ 602 w 1136"/>
                    <a:gd name="T13" fmla="*/ 43 h 1360"/>
                    <a:gd name="T14" fmla="*/ 575 w 1136"/>
                    <a:gd name="T15" fmla="*/ 0 h 1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36" h="1360">
                      <a:moveTo>
                        <a:pt x="575" y="0"/>
                      </a:moveTo>
                      <a:cubicBezTo>
                        <a:pt x="575" y="0"/>
                        <a:pt x="1043" y="109"/>
                        <a:pt x="1047" y="496"/>
                      </a:cubicBezTo>
                      <a:cubicBezTo>
                        <a:pt x="1049" y="651"/>
                        <a:pt x="965" y="812"/>
                        <a:pt x="847" y="962"/>
                      </a:cubicBezTo>
                      <a:cubicBezTo>
                        <a:pt x="702" y="1147"/>
                        <a:pt x="521" y="1290"/>
                        <a:pt x="368" y="1360"/>
                      </a:cubicBezTo>
                      <a:cubicBezTo>
                        <a:pt x="368" y="1360"/>
                        <a:pt x="118" y="1311"/>
                        <a:pt x="0" y="1149"/>
                      </a:cubicBezTo>
                      <a:cubicBezTo>
                        <a:pt x="0" y="1149"/>
                        <a:pt x="614" y="959"/>
                        <a:pt x="833" y="612"/>
                      </a:cubicBezTo>
                      <a:cubicBezTo>
                        <a:pt x="833" y="612"/>
                        <a:pt x="1136" y="198"/>
                        <a:pt x="602" y="43"/>
                      </a:cubicBezTo>
                      <a:lnTo>
                        <a:pt x="575" y="0"/>
                      </a:ln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6" name="Freeform 53">
                  <a:extLst>
                    <a:ext uri="{FF2B5EF4-FFF2-40B4-BE49-F238E27FC236}">
                      <a16:creationId xmlns:a16="http://schemas.microsoft.com/office/drawing/2014/main" id="{D0D956E9-D244-3F7B-1916-0F84C452FF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5914" y="2311543"/>
                  <a:ext cx="1925188" cy="2190985"/>
                </a:xfrm>
                <a:custGeom>
                  <a:avLst/>
                  <a:gdLst>
                    <a:gd name="T0" fmla="*/ 0 w 1222"/>
                    <a:gd name="T1" fmla="*/ 477 h 1391"/>
                    <a:gd name="T2" fmla="*/ 578 w 1222"/>
                    <a:gd name="T3" fmla="*/ 178 h 1391"/>
                    <a:gd name="T4" fmla="*/ 974 w 1222"/>
                    <a:gd name="T5" fmla="*/ 500 h 1391"/>
                    <a:gd name="T6" fmla="*/ 1222 w 1222"/>
                    <a:gd name="T7" fmla="*/ 1099 h 1391"/>
                    <a:gd name="T8" fmla="*/ 918 w 1222"/>
                    <a:gd name="T9" fmla="*/ 1391 h 1391"/>
                    <a:gd name="T10" fmla="*/ 648 w 1222"/>
                    <a:gd name="T11" fmla="*/ 405 h 1391"/>
                    <a:gd name="T12" fmla="*/ 37 w 1222"/>
                    <a:gd name="T13" fmla="*/ 466 h 1391"/>
                    <a:gd name="T14" fmla="*/ 0 w 1222"/>
                    <a:gd name="T15" fmla="*/ 477 h 1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22" h="1391">
                      <a:moveTo>
                        <a:pt x="0" y="477"/>
                      </a:moveTo>
                      <a:cubicBezTo>
                        <a:pt x="0" y="477"/>
                        <a:pt x="239" y="92"/>
                        <a:pt x="578" y="178"/>
                      </a:cubicBezTo>
                      <a:cubicBezTo>
                        <a:pt x="729" y="216"/>
                        <a:pt x="866" y="344"/>
                        <a:pt x="974" y="500"/>
                      </a:cubicBezTo>
                      <a:cubicBezTo>
                        <a:pt x="1109" y="694"/>
                        <a:pt x="1200" y="932"/>
                        <a:pt x="1222" y="1099"/>
                      </a:cubicBezTo>
                      <a:cubicBezTo>
                        <a:pt x="1222" y="1099"/>
                        <a:pt x="1133" y="1325"/>
                        <a:pt x="918" y="1391"/>
                      </a:cubicBezTo>
                      <a:cubicBezTo>
                        <a:pt x="918" y="1391"/>
                        <a:pt x="896" y="717"/>
                        <a:pt x="648" y="405"/>
                      </a:cubicBezTo>
                      <a:cubicBezTo>
                        <a:pt x="648" y="405"/>
                        <a:pt x="342" y="0"/>
                        <a:pt x="37" y="466"/>
                      </a:cubicBezTo>
                      <a:lnTo>
                        <a:pt x="0" y="477"/>
                      </a:lnTo>
                      <a:close/>
                    </a:path>
                  </a:pathLst>
                </a:custGeom>
                <a:solidFill>
                  <a:srgbClr val="3B393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FBD0CDED-FA1A-21E2-8502-B241BFD175D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401554" y="3788303"/>
                  <a:ext cx="285538" cy="288000"/>
                  <a:chOff x="4386263" y="3243263"/>
                  <a:chExt cx="368301" cy="371476"/>
                </a:xfrm>
                <a:solidFill>
                  <a:sysClr val="windowText" lastClr="000000">
                    <a:lumMod val="65000"/>
                    <a:lumOff val="35000"/>
                  </a:sysClr>
                </a:solidFill>
              </p:grpSpPr>
              <p:sp>
                <p:nvSpPr>
                  <p:cNvPr id="90" name="Freeform 67">
                    <a:extLst>
                      <a:ext uri="{FF2B5EF4-FFF2-40B4-BE49-F238E27FC236}">
                        <a16:creationId xmlns:a16="http://schemas.microsoft.com/office/drawing/2014/main" id="{FD6990E6-2A20-E40F-B714-8AEF59BB66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86263" y="3455988"/>
                    <a:ext cx="147638" cy="158750"/>
                  </a:xfrm>
                  <a:custGeom>
                    <a:avLst/>
                    <a:gdLst>
                      <a:gd name="T0" fmla="*/ 23 w 38"/>
                      <a:gd name="T1" fmla="*/ 41 h 41"/>
                      <a:gd name="T2" fmla="*/ 23 w 38"/>
                      <a:gd name="T3" fmla="*/ 41 h 41"/>
                      <a:gd name="T4" fmla="*/ 21 w 38"/>
                      <a:gd name="T5" fmla="*/ 40 h 41"/>
                      <a:gd name="T6" fmla="*/ 16 w 38"/>
                      <a:gd name="T7" fmla="*/ 27 h 41"/>
                      <a:gd name="T8" fmla="*/ 2 w 38"/>
                      <a:gd name="T9" fmla="*/ 29 h 41"/>
                      <a:gd name="T10" fmla="*/ 0 w 38"/>
                      <a:gd name="T11" fmla="*/ 28 h 41"/>
                      <a:gd name="T12" fmla="*/ 0 w 38"/>
                      <a:gd name="T13" fmla="*/ 26 h 41"/>
                      <a:gd name="T14" fmla="*/ 15 w 38"/>
                      <a:gd name="T15" fmla="*/ 0 h 41"/>
                      <a:gd name="T16" fmla="*/ 19 w 38"/>
                      <a:gd name="T17" fmla="*/ 2 h 41"/>
                      <a:gd name="T18" fmla="*/ 6 w 38"/>
                      <a:gd name="T19" fmla="*/ 24 h 41"/>
                      <a:gd name="T20" fmla="*/ 17 w 38"/>
                      <a:gd name="T21" fmla="*/ 22 h 41"/>
                      <a:gd name="T22" fmla="*/ 19 w 38"/>
                      <a:gd name="T23" fmla="*/ 24 h 41"/>
                      <a:gd name="T24" fmla="*/ 23 w 38"/>
                      <a:gd name="T25" fmla="*/ 34 h 41"/>
                      <a:gd name="T26" fmla="*/ 34 w 38"/>
                      <a:gd name="T27" fmla="*/ 16 h 41"/>
                      <a:gd name="T28" fmla="*/ 38 w 38"/>
                      <a:gd name="T29" fmla="*/ 18 h 41"/>
                      <a:gd name="T30" fmla="*/ 24 w 38"/>
                      <a:gd name="T31" fmla="*/ 40 h 41"/>
                      <a:gd name="T32" fmla="*/ 23 w 38"/>
                      <a:gd name="T33" fmla="*/ 41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8" h="41">
                        <a:moveTo>
                          <a:pt x="23" y="41"/>
                        </a:moveTo>
                        <a:cubicBezTo>
                          <a:pt x="23" y="41"/>
                          <a:pt x="23" y="41"/>
                          <a:pt x="23" y="41"/>
                        </a:cubicBezTo>
                        <a:cubicBezTo>
                          <a:pt x="22" y="41"/>
                          <a:pt x="21" y="40"/>
                          <a:pt x="21" y="40"/>
                        </a:cubicBezTo>
                        <a:cubicBezTo>
                          <a:pt x="16" y="27"/>
                          <a:pt x="16" y="27"/>
                          <a:pt x="16" y="27"/>
                        </a:cubicBezTo>
                        <a:cubicBezTo>
                          <a:pt x="2" y="29"/>
                          <a:pt x="2" y="29"/>
                          <a:pt x="2" y="29"/>
                        </a:cubicBezTo>
                        <a:cubicBezTo>
                          <a:pt x="2" y="29"/>
                          <a:pt x="1" y="29"/>
                          <a:pt x="0" y="28"/>
                        </a:cubicBezTo>
                        <a:cubicBezTo>
                          <a:pt x="0" y="27"/>
                          <a:pt x="0" y="27"/>
                          <a:pt x="0" y="26"/>
                        </a:cubicBezTo>
                        <a:cubicBezTo>
                          <a:pt x="15" y="0"/>
                          <a:pt x="15" y="0"/>
                          <a:pt x="15" y="0"/>
                        </a:cubicBezTo>
                        <a:cubicBezTo>
                          <a:pt x="19" y="2"/>
                          <a:pt x="19" y="2"/>
                          <a:pt x="19" y="2"/>
                        </a:cubicBezTo>
                        <a:cubicBezTo>
                          <a:pt x="6" y="24"/>
                          <a:pt x="6" y="24"/>
                          <a:pt x="6" y="24"/>
                        </a:cubicBezTo>
                        <a:cubicBezTo>
                          <a:pt x="17" y="22"/>
                          <a:pt x="17" y="22"/>
                          <a:pt x="17" y="22"/>
                        </a:cubicBezTo>
                        <a:cubicBezTo>
                          <a:pt x="18" y="22"/>
                          <a:pt x="19" y="23"/>
                          <a:pt x="19" y="24"/>
                        </a:cubicBezTo>
                        <a:cubicBezTo>
                          <a:pt x="23" y="34"/>
                          <a:pt x="23" y="34"/>
                          <a:pt x="23" y="34"/>
                        </a:cubicBezTo>
                        <a:cubicBezTo>
                          <a:pt x="34" y="16"/>
                          <a:pt x="34" y="16"/>
                          <a:pt x="34" y="16"/>
                        </a:cubicBezTo>
                        <a:cubicBezTo>
                          <a:pt x="38" y="18"/>
                          <a:pt x="38" y="18"/>
                          <a:pt x="38" y="18"/>
                        </a:cubicBezTo>
                        <a:cubicBezTo>
                          <a:pt x="24" y="40"/>
                          <a:pt x="24" y="40"/>
                          <a:pt x="24" y="40"/>
                        </a:cubicBezTo>
                        <a:cubicBezTo>
                          <a:pt x="24" y="41"/>
                          <a:pt x="23" y="41"/>
                          <a:pt x="23" y="4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1" name="Freeform 68">
                    <a:extLst>
                      <a:ext uri="{FF2B5EF4-FFF2-40B4-BE49-F238E27FC236}">
                        <a16:creationId xmlns:a16="http://schemas.microsoft.com/office/drawing/2014/main" id="{A604AB11-E556-5669-4D13-96F6A0D7E6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10101" y="3460751"/>
                    <a:ext cx="144463" cy="153988"/>
                  </a:xfrm>
                  <a:custGeom>
                    <a:avLst/>
                    <a:gdLst>
                      <a:gd name="T0" fmla="*/ 15 w 37"/>
                      <a:gd name="T1" fmla="*/ 40 h 40"/>
                      <a:gd name="T2" fmla="*/ 13 w 37"/>
                      <a:gd name="T3" fmla="*/ 39 h 40"/>
                      <a:gd name="T4" fmla="*/ 0 w 37"/>
                      <a:gd name="T5" fmla="*/ 17 h 40"/>
                      <a:gd name="T6" fmla="*/ 3 w 37"/>
                      <a:gd name="T7" fmla="*/ 15 h 40"/>
                      <a:gd name="T8" fmla="*/ 14 w 37"/>
                      <a:gd name="T9" fmla="*/ 33 h 40"/>
                      <a:gd name="T10" fmla="*/ 18 w 37"/>
                      <a:gd name="T11" fmla="*/ 23 h 40"/>
                      <a:gd name="T12" fmla="*/ 20 w 37"/>
                      <a:gd name="T13" fmla="*/ 21 h 40"/>
                      <a:gd name="T14" fmla="*/ 31 w 37"/>
                      <a:gd name="T15" fmla="*/ 23 h 40"/>
                      <a:gd name="T16" fmla="*/ 19 w 37"/>
                      <a:gd name="T17" fmla="*/ 2 h 40"/>
                      <a:gd name="T18" fmla="*/ 22 w 37"/>
                      <a:gd name="T19" fmla="*/ 0 h 40"/>
                      <a:gd name="T20" fmla="*/ 37 w 37"/>
                      <a:gd name="T21" fmla="*/ 25 h 40"/>
                      <a:gd name="T22" fmla="*/ 37 w 37"/>
                      <a:gd name="T23" fmla="*/ 27 h 40"/>
                      <a:gd name="T24" fmla="*/ 35 w 37"/>
                      <a:gd name="T25" fmla="*/ 28 h 40"/>
                      <a:gd name="T26" fmla="*/ 21 w 37"/>
                      <a:gd name="T27" fmla="*/ 26 h 40"/>
                      <a:gd name="T28" fmla="*/ 16 w 37"/>
                      <a:gd name="T29" fmla="*/ 39 h 40"/>
                      <a:gd name="T30" fmla="*/ 15 w 37"/>
                      <a:gd name="T31" fmla="*/ 40 h 40"/>
                      <a:gd name="T32" fmla="*/ 15 w 37"/>
                      <a:gd name="T33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" h="40">
                        <a:moveTo>
                          <a:pt x="15" y="40"/>
                        </a:moveTo>
                        <a:cubicBezTo>
                          <a:pt x="14" y="40"/>
                          <a:pt x="13" y="40"/>
                          <a:pt x="13" y="39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3" y="15"/>
                          <a:pt x="3" y="15"/>
                          <a:pt x="3" y="15"/>
                        </a:cubicBezTo>
                        <a:cubicBezTo>
                          <a:pt x="14" y="33"/>
                          <a:pt x="14" y="33"/>
                          <a:pt x="14" y="33"/>
                        </a:cubicBezTo>
                        <a:cubicBezTo>
                          <a:pt x="18" y="23"/>
                          <a:pt x="18" y="23"/>
                          <a:pt x="18" y="23"/>
                        </a:cubicBezTo>
                        <a:cubicBezTo>
                          <a:pt x="18" y="22"/>
                          <a:pt x="19" y="21"/>
                          <a:pt x="20" y="21"/>
                        </a:cubicBezTo>
                        <a:cubicBezTo>
                          <a:pt x="31" y="23"/>
                          <a:pt x="31" y="23"/>
                          <a:pt x="31" y="23"/>
                        </a:cubicBezTo>
                        <a:cubicBezTo>
                          <a:pt x="19" y="2"/>
                          <a:pt x="19" y="2"/>
                          <a:pt x="19" y="2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37" y="25"/>
                          <a:pt x="37" y="25"/>
                          <a:pt x="37" y="25"/>
                        </a:cubicBezTo>
                        <a:cubicBezTo>
                          <a:pt x="37" y="26"/>
                          <a:pt x="37" y="26"/>
                          <a:pt x="37" y="27"/>
                        </a:cubicBezTo>
                        <a:cubicBezTo>
                          <a:pt x="37" y="28"/>
                          <a:pt x="36" y="28"/>
                          <a:pt x="35" y="28"/>
                        </a:cubicBezTo>
                        <a:cubicBezTo>
                          <a:pt x="21" y="26"/>
                          <a:pt x="21" y="26"/>
                          <a:pt x="21" y="26"/>
                        </a:cubicBezTo>
                        <a:cubicBezTo>
                          <a:pt x="16" y="39"/>
                          <a:pt x="16" y="39"/>
                          <a:pt x="16" y="39"/>
                        </a:cubicBezTo>
                        <a:cubicBezTo>
                          <a:pt x="16" y="39"/>
                          <a:pt x="16" y="40"/>
                          <a:pt x="15" y="40"/>
                        </a:cubicBezTo>
                        <a:cubicBezTo>
                          <a:pt x="15" y="40"/>
                          <a:pt x="15" y="40"/>
                          <a:pt x="15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2" name="Freeform 69">
                    <a:extLst>
                      <a:ext uri="{FF2B5EF4-FFF2-40B4-BE49-F238E27FC236}">
                        <a16:creationId xmlns:a16="http://schemas.microsoft.com/office/drawing/2014/main" id="{42E34F9D-96DC-785B-F903-6FF00E28285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424363" y="3243263"/>
                    <a:ext cx="295275" cy="293688"/>
                  </a:xfrm>
                  <a:custGeom>
                    <a:avLst/>
                    <a:gdLst>
                      <a:gd name="T0" fmla="*/ 38 w 76"/>
                      <a:gd name="T1" fmla="*/ 76 h 76"/>
                      <a:gd name="T2" fmla="*/ 0 w 76"/>
                      <a:gd name="T3" fmla="*/ 38 h 76"/>
                      <a:gd name="T4" fmla="*/ 38 w 76"/>
                      <a:gd name="T5" fmla="*/ 0 h 76"/>
                      <a:gd name="T6" fmla="*/ 76 w 76"/>
                      <a:gd name="T7" fmla="*/ 38 h 76"/>
                      <a:gd name="T8" fmla="*/ 38 w 76"/>
                      <a:gd name="T9" fmla="*/ 76 h 76"/>
                      <a:gd name="T10" fmla="*/ 38 w 76"/>
                      <a:gd name="T11" fmla="*/ 4 h 76"/>
                      <a:gd name="T12" fmla="*/ 4 w 76"/>
                      <a:gd name="T13" fmla="*/ 38 h 76"/>
                      <a:gd name="T14" fmla="*/ 38 w 76"/>
                      <a:gd name="T15" fmla="*/ 72 h 76"/>
                      <a:gd name="T16" fmla="*/ 72 w 76"/>
                      <a:gd name="T17" fmla="*/ 38 h 76"/>
                      <a:gd name="T18" fmla="*/ 38 w 76"/>
                      <a:gd name="T19" fmla="*/ 4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6" h="76">
                        <a:moveTo>
                          <a:pt x="38" y="76"/>
                        </a:moveTo>
                        <a:cubicBezTo>
                          <a:pt x="17" y="76"/>
                          <a:pt x="0" y="59"/>
                          <a:pt x="0" y="38"/>
                        </a:cubicBezTo>
                        <a:cubicBezTo>
                          <a:pt x="0" y="17"/>
                          <a:pt x="17" y="0"/>
                          <a:pt x="38" y="0"/>
                        </a:cubicBezTo>
                        <a:cubicBezTo>
                          <a:pt x="59" y="0"/>
                          <a:pt x="76" y="17"/>
                          <a:pt x="76" y="38"/>
                        </a:cubicBezTo>
                        <a:cubicBezTo>
                          <a:pt x="76" y="59"/>
                          <a:pt x="59" y="76"/>
                          <a:pt x="38" y="76"/>
                        </a:cubicBezTo>
                        <a:close/>
                        <a:moveTo>
                          <a:pt x="38" y="4"/>
                        </a:moveTo>
                        <a:cubicBezTo>
                          <a:pt x="19" y="4"/>
                          <a:pt x="4" y="19"/>
                          <a:pt x="4" y="38"/>
                        </a:cubicBezTo>
                        <a:cubicBezTo>
                          <a:pt x="4" y="57"/>
                          <a:pt x="19" y="72"/>
                          <a:pt x="38" y="72"/>
                        </a:cubicBezTo>
                        <a:cubicBezTo>
                          <a:pt x="57" y="72"/>
                          <a:pt x="72" y="57"/>
                          <a:pt x="72" y="38"/>
                        </a:cubicBezTo>
                        <a:cubicBezTo>
                          <a:pt x="72" y="19"/>
                          <a:pt x="57" y="4"/>
                          <a:pt x="38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3" name="Freeform 70">
                    <a:extLst>
                      <a:ext uri="{FF2B5EF4-FFF2-40B4-BE49-F238E27FC236}">
                        <a16:creationId xmlns:a16="http://schemas.microsoft.com/office/drawing/2014/main" id="{CE3D1272-CADF-B698-A0F5-40F4F58D384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494213" y="3305176"/>
                    <a:ext cx="155575" cy="155575"/>
                  </a:xfrm>
                  <a:custGeom>
                    <a:avLst/>
                    <a:gdLst>
                      <a:gd name="T0" fmla="*/ 32 w 40"/>
                      <a:gd name="T1" fmla="*/ 40 h 40"/>
                      <a:gd name="T2" fmla="*/ 31 w 40"/>
                      <a:gd name="T3" fmla="*/ 40 h 40"/>
                      <a:gd name="T4" fmla="*/ 20 w 40"/>
                      <a:gd name="T5" fmla="*/ 33 h 40"/>
                      <a:gd name="T6" fmla="*/ 9 w 40"/>
                      <a:gd name="T7" fmla="*/ 40 h 40"/>
                      <a:gd name="T8" fmla="*/ 7 w 40"/>
                      <a:gd name="T9" fmla="*/ 40 h 40"/>
                      <a:gd name="T10" fmla="*/ 6 w 40"/>
                      <a:gd name="T11" fmla="*/ 37 h 40"/>
                      <a:gd name="T12" fmla="*/ 10 w 40"/>
                      <a:gd name="T13" fmla="*/ 25 h 40"/>
                      <a:gd name="T14" fmla="*/ 1 w 40"/>
                      <a:gd name="T15" fmla="*/ 15 h 40"/>
                      <a:gd name="T16" fmla="*/ 0 w 40"/>
                      <a:gd name="T17" fmla="*/ 13 h 40"/>
                      <a:gd name="T18" fmla="*/ 2 w 40"/>
                      <a:gd name="T19" fmla="*/ 12 h 40"/>
                      <a:gd name="T20" fmla="*/ 13 w 40"/>
                      <a:gd name="T21" fmla="*/ 12 h 40"/>
                      <a:gd name="T22" fmla="*/ 18 w 40"/>
                      <a:gd name="T23" fmla="*/ 1 h 40"/>
                      <a:gd name="T24" fmla="*/ 22 w 40"/>
                      <a:gd name="T25" fmla="*/ 1 h 40"/>
                      <a:gd name="T26" fmla="*/ 27 w 40"/>
                      <a:gd name="T27" fmla="*/ 12 h 40"/>
                      <a:gd name="T28" fmla="*/ 38 w 40"/>
                      <a:gd name="T29" fmla="*/ 12 h 40"/>
                      <a:gd name="T30" fmla="*/ 40 w 40"/>
                      <a:gd name="T31" fmla="*/ 13 h 40"/>
                      <a:gd name="T32" fmla="*/ 39 w 40"/>
                      <a:gd name="T33" fmla="*/ 15 h 40"/>
                      <a:gd name="T34" fmla="*/ 30 w 40"/>
                      <a:gd name="T35" fmla="*/ 25 h 40"/>
                      <a:gd name="T36" fmla="*/ 34 w 40"/>
                      <a:gd name="T37" fmla="*/ 37 h 40"/>
                      <a:gd name="T38" fmla="*/ 33 w 40"/>
                      <a:gd name="T39" fmla="*/ 40 h 40"/>
                      <a:gd name="T40" fmla="*/ 32 w 40"/>
                      <a:gd name="T41" fmla="*/ 40 h 40"/>
                      <a:gd name="T42" fmla="*/ 20 w 40"/>
                      <a:gd name="T43" fmla="*/ 28 h 40"/>
                      <a:gd name="T44" fmla="*/ 21 w 40"/>
                      <a:gd name="T45" fmla="*/ 29 h 40"/>
                      <a:gd name="T46" fmla="*/ 29 w 40"/>
                      <a:gd name="T47" fmla="*/ 34 h 40"/>
                      <a:gd name="T48" fmla="*/ 26 w 40"/>
                      <a:gd name="T49" fmla="*/ 25 h 40"/>
                      <a:gd name="T50" fmla="*/ 27 w 40"/>
                      <a:gd name="T51" fmla="*/ 23 h 40"/>
                      <a:gd name="T52" fmla="*/ 33 w 40"/>
                      <a:gd name="T53" fmla="*/ 16 h 40"/>
                      <a:gd name="T54" fmla="*/ 26 w 40"/>
                      <a:gd name="T55" fmla="*/ 16 h 40"/>
                      <a:gd name="T56" fmla="*/ 24 w 40"/>
                      <a:gd name="T57" fmla="*/ 15 h 40"/>
                      <a:gd name="T58" fmla="*/ 20 w 40"/>
                      <a:gd name="T59" fmla="*/ 6 h 40"/>
                      <a:gd name="T60" fmla="*/ 16 w 40"/>
                      <a:gd name="T61" fmla="*/ 15 h 40"/>
                      <a:gd name="T62" fmla="*/ 14 w 40"/>
                      <a:gd name="T63" fmla="*/ 16 h 40"/>
                      <a:gd name="T64" fmla="*/ 7 w 40"/>
                      <a:gd name="T65" fmla="*/ 16 h 40"/>
                      <a:gd name="T66" fmla="*/ 13 w 40"/>
                      <a:gd name="T67" fmla="*/ 23 h 40"/>
                      <a:gd name="T68" fmla="*/ 14 w 40"/>
                      <a:gd name="T69" fmla="*/ 25 h 40"/>
                      <a:gd name="T70" fmla="*/ 11 w 40"/>
                      <a:gd name="T71" fmla="*/ 34 h 40"/>
                      <a:gd name="T72" fmla="*/ 19 w 40"/>
                      <a:gd name="T73" fmla="*/ 29 h 40"/>
                      <a:gd name="T74" fmla="*/ 20 w 40"/>
                      <a:gd name="T75" fmla="*/ 28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40" h="40">
                        <a:moveTo>
                          <a:pt x="32" y="40"/>
                        </a:moveTo>
                        <a:cubicBezTo>
                          <a:pt x="32" y="40"/>
                          <a:pt x="31" y="40"/>
                          <a:pt x="31" y="40"/>
                        </a:cubicBezTo>
                        <a:cubicBezTo>
                          <a:pt x="20" y="33"/>
                          <a:pt x="20" y="33"/>
                          <a:pt x="20" y="33"/>
                        </a:cubicBezTo>
                        <a:cubicBezTo>
                          <a:pt x="9" y="40"/>
                          <a:pt x="9" y="40"/>
                          <a:pt x="9" y="40"/>
                        </a:cubicBezTo>
                        <a:cubicBezTo>
                          <a:pt x="8" y="40"/>
                          <a:pt x="7" y="40"/>
                          <a:pt x="7" y="40"/>
                        </a:cubicBezTo>
                        <a:cubicBezTo>
                          <a:pt x="6" y="39"/>
                          <a:pt x="6" y="38"/>
                          <a:pt x="6" y="37"/>
                        </a:cubicBezTo>
                        <a:cubicBezTo>
                          <a:pt x="10" y="25"/>
                          <a:pt x="10" y="25"/>
                          <a:pt x="10" y="25"/>
                        </a:cubicBezTo>
                        <a:cubicBezTo>
                          <a:pt x="1" y="15"/>
                          <a:pt x="1" y="15"/>
                          <a:pt x="1" y="15"/>
                        </a:cubicBezTo>
                        <a:cubicBezTo>
                          <a:pt x="0" y="15"/>
                          <a:pt x="0" y="14"/>
                          <a:pt x="0" y="13"/>
                        </a:cubicBezTo>
                        <a:cubicBezTo>
                          <a:pt x="0" y="12"/>
                          <a:pt x="1" y="12"/>
                          <a:pt x="2" y="12"/>
                        </a:cubicBezTo>
                        <a:cubicBezTo>
                          <a:pt x="13" y="12"/>
                          <a:pt x="13" y="12"/>
                          <a:pt x="13" y="12"/>
                        </a:cubicBezTo>
                        <a:cubicBezTo>
                          <a:pt x="18" y="1"/>
                          <a:pt x="18" y="1"/>
                          <a:pt x="18" y="1"/>
                        </a:cubicBezTo>
                        <a:cubicBezTo>
                          <a:pt x="19" y="0"/>
                          <a:pt x="21" y="0"/>
                          <a:pt x="22" y="1"/>
                        </a:cubicBezTo>
                        <a:cubicBezTo>
                          <a:pt x="27" y="12"/>
                          <a:pt x="27" y="12"/>
                          <a:pt x="27" y="12"/>
                        </a:cubicBezTo>
                        <a:cubicBezTo>
                          <a:pt x="38" y="12"/>
                          <a:pt x="38" y="12"/>
                          <a:pt x="38" y="12"/>
                        </a:cubicBezTo>
                        <a:cubicBezTo>
                          <a:pt x="39" y="12"/>
                          <a:pt x="40" y="12"/>
                          <a:pt x="40" y="13"/>
                        </a:cubicBezTo>
                        <a:cubicBezTo>
                          <a:pt x="40" y="14"/>
                          <a:pt x="40" y="15"/>
                          <a:pt x="3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4" y="37"/>
                          <a:pt x="34" y="37"/>
                          <a:pt x="34" y="37"/>
                        </a:cubicBezTo>
                        <a:cubicBezTo>
                          <a:pt x="34" y="38"/>
                          <a:pt x="34" y="39"/>
                          <a:pt x="33" y="40"/>
                        </a:cubicBezTo>
                        <a:cubicBezTo>
                          <a:pt x="33" y="40"/>
                          <a:pt x="32" y="40"/>
                          <a:pt x="32" y="40"/>
                        </a:cubicBezTo>
                        <a:close/>
                        <a:moveTo>
                          <a:pt x="20" y="28"/>
                        </a:moveTo>
                        <a:cubicBezTo>
                          <a:pt x="20" y="28"/>
                          <a:pt x="21" y="29"/>
                          <a:pt x="21" y="29"/>
                        </a:cubicBezTo>
                        <a:cubicBezTo>
                          <a:pt x="29" y="34"/>
                          <a:pt x="29" y="34"/>
                          <a:pt x="29" y="34"/>
                        </a:cubicBezTo>
                        <a:cubicBezTo>
                          <a:pt x="26" y="25"/>
                          <a:pt x="26" y="25"/>
                          <a:pt x="26" y="25"/>
                        </a:cubicBezTo>
                        <a:cubicBezTo>
                          <a:pt x="26" y="24"/>
                          <a:pt x="26" y="23"/>
                          <a:pt x="27" y="23"/>
                        </a:cubicBezTo>
                        <a:cubicBezTo>
                          <a:pt x="33" y="16"/>
                          <a:pt x="33" y="16"/>
                          <a:pt x="33" y="16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25" y="16"/>
                          <a:pt x="25" y="16"/>
                          <a:pt x="24" y="15"/>
                        </a:cubicBezTo>
                        <a:cubicBezTo>
                          <a:pt x="20" y="6"/>
                          <a:pt x="20" y="6"/>
                          <a:pt x="20" y="6"/>
                        </a:cubicBezTo>
                        <a:cubicBezTo>
                          <a:pt x="16" y="15"/>
                          <a:pt x="16" y="15"/>
                          <a:pt x="16" y="15"/>
                        </a:cubicBezTo>
                        <a:cubicBezTo>
                          <a:pt x="15" y="16"/>
                          <a:pt x="15" y="16"/>
                          <a:pt x="14" y="16"/>
                        </a:cubicBezTo>
                        <a:cubicBezTo>
                          <a:pt x="7" y="16"/>
                          <a:pt x="7" y="16"/>
                          <a:pt x="7" y="16"/>
                        </a:cubicBezTo>
                        <a:cubicBezTo>
                          <a:pt x="13" y="23"/>
                          <a:pt x="13" y="23"/>
                          <a:pt x="13" y="23"/>
                        </a:cubicBezTo>
                        <a:cubicBezTo>
                          <a:pt x="14" y="23"/>
                          <a:pt x="14" y="24"/>
                          <a:pt x="14" y="25"/>
                        </a:cubicBezTo>
                        <a:cubicBezTo>
                          <a:pt x="11" y="34"/>
                          <a:pt x="11" y="34"/>
                          <a:pt x="11" y="34"/>
                        </a:cubicBezTo>
                        <a:cubicBezTo>
                          <a:pt x="19" y="29"/>
                          <a:pt x="19" y="29"/>
                          <a:pt x="19" y="29"/>
                        </a:cubicBezTo>
                        <a:cubicBezTo>
                          <a:pt x="19" y="29"/>
                          <a:pt x="20" y="28"/>
                          <a:pt x="20" y="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</p:grp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596E0E5-7E8B-0F89-8C91-C8C7C54BB9D5}"/>
                </a:ext>
              </a:extLst>
            </p:cNvPr>
            <p:cNvGrpSpPr/>
            <p:nvPr/>
          </p:nvGrpSpPr>
          <p:grpSpPr>
            <a:xfrm>
              <a:off x="2505488" y="3490913"/>
              <a:ext cx="539768" cy="539768"/>
              <a:chOff x="2456649" y="2890030"/>
              <a:chExt cx="593745" cy="593745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B07B3E38-C155-35D8-7DD5-DDDF4BB7D548}"/>
                  </a:ext>
                </a:extLst>
              </p:cNvPr>
              <p:cNvGrpSpPr/>
              <p:nvPr/>
            </p:nvGrpSpPr>
            <p:grpSpPr>
              <a:xfrm>
                <a:off x="2456649" y="2890030"/>
                <a:ext cx="593745" cy="593745"/>
                <a:chOff x="2439588" y="2833628"/>
                <a:chExt cx="405535" cy="405535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B6E9E6C1-3093-569E-82C0-FDA8FAA809E6}"/>
                    </a:ext>
                  </a:extLst>
                </p:cNvPr>
                <p:cNvSpPr/>
                <p:nvPr/>
              </p:nvSpPr>
              <p:spPr>
                <a:xfrm>
                  <a:off x="2439588" y="2833628"/>
                  <a:ext cx="405535" cy="405535"/>
                </a:xfrm>
                <a:prstGeom prst="ellipse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38100" dist="254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9265D03C-FB95-7B5F-7B1A-8D10B32123BB}"/>
                    </a:ext>
                  </a:extLst>
                </p:cNvPr>
                <p:cNvSpPr/>
                <p:nvPr/>
              </p:nvSpPr>
              <p:spPr>
                <a:xfrm>
                  <a:off x="2474779" y="2868816"/>
                  <a:ext cx="335153" cy="335152"/>
                </a:xfrm>
                <a:prstGeom prst="ellipse">
                  <a:avLst/>
                </a:prstGeom>
                <a:solidFill>
                  <a:srgbClr val="78D2D2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720BDC6D-7481-EEC1-7A46-A67EAC4B1C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590234" y="3043153"/>
                <a:ext cx="326574" cy="287496"/>
                <a:chOff x="1362075" y="1844675"/>
                <a:chExt cx="371475" cy="327025"/>
              </a:xfrm>
              <a:solidFill>
                <a:sysClr val="window" lastClr="FFFFFF"/>
              </a:solidFill>
            </p:grpSpPr>
            <p:sp>
              <p:nvSpPr>
                <p:cNvPr id="67" name="Freeform 74">
                  <a:extLst>
                    <a:ext uri="{FF2B5EF4-FFF2-40B4-BE49-F238E27FC236}">
                      <a16:creationId xmlns:a16="http://schemas.microsoft.com/office/drawing/2014/main" id="{D0F03B8B-AE7B-0223-B340-7A0B48601F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62075" y="1844675"/>
                  <a:ext cx="371475" cy="295275"/>
                </a:xfrm>
                <a:custGeom>
                  <a:avLst/>
                  <a:gdLst>
                    <a:gd name="T0" fmla="*/ 88 w 96"/>
                    <a:gd name="T1" fmla="*/ 76 h 76"/>
                    <a:gd name="T2" fmla="*/ 8 w 96"/>
                    <a:gd name="T3" fmla="*/ 76 h 76"/>
                    <a:gd name="T4" fmla="*/ 0 w 96"/>
                    <a:gd name="T5" fmla="*/ 68 h 76"/>
                    <a:gd name="T6" fmla="*/ 0 w 96"/>
                    <a:gd name="T7" fmla="*/ 8 h 76"/>
                    <a:gd name="T8" fmla="*/ 8 w 96"/>
                    <a:gd name="T9" fmla="*/ 0 h 76"/>
                    <a:gd name="T10" fmla="*/ 88 w 96"/>
                    <a:gd name="T11" fmla="*/ 0 h 76"/>
                    <a:gd name="T12" fmla="*/ 96 w 96"/>
                    <a:gd name="T13" fmla="*/ 8 h 76"/>
                    <a:gd name="T14" fmla="*/ 96 w 96"/>
                    <a:gd name="T15" fmla="*/ 68 h 76"/>
                    <a:gd name="T16" fmla="*/ 88 w 96"/>
                    <a:gd name="T17" fmla="*/ 76 h 76"/>
                    <a:gd name="T18" fmla="*/ 8 w 96"/>
                    <a:gd name="T19" fmla="*/ 4 h 76"/>
                    <a:gd name="T20" fmla="*/ 4 w 96"/>
                    <a:gd name="T21" fmla="*/ 8 h 76"/>
                    <a:gd name="T22" fmla="*/ 4 w 96"/>
                    <a:gd name="T23" fmla="*/ 68 h 76"/>
                    <a:gd name="T24" fmla="*/ 8 w 96"/>
                    <a:gd name="T25" fmla="*/ 72 h 76"/>
                    <a:gd name="T26" fmla="*/ 88 w 96"/>
                    <a:gd name="T27" fmla="*/ 72 h 76"/>
                    <a:gd name="T28" fmla="*/ 92 w 96"/>
                    <a:gd name="T29" fmla="*/ 68 h 76"/>
                    <a:gd name="T30" fmla="*/ 92 w 96"/>
                    <a:gd name="T31" fmla="*/ 8 h 76"/>
                    <a:gd name="T32" fmla="*/ 88 w 96"/>
                    <a:gd name="T33" fmla="*/ 4 h 76"/>
                    <a:gd name="T34" fmla="*/ 8 w 96"/>
                    <a:gd name="T35" fmla="*/ 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6" h="76">
                      <a:moveTo>
                        <a:pt x="88" y="76"/>
                      </a:move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4" y="76"/>
                        <a:pt x="0" y="72"/>
                        <a:pt x="0" y="6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92" y="0"/>
                        <a:pt x="96" y="4"/>
                        <a:pt x="96" y="8"/>
                      </a:cubicBezTo>
                      <a:cubicBezTo>
                        <a:pt x="96" y="68"/>
                        <a:pt x="96" y="68"/>
                        <a:pt x="96" y="68"/>
                      </a:cubicBezTo>
                      <a:cubicBezTo>
                        <a:pt x="96" y="72"/>
                        <a:pt x="92" y="76"/>
                        <a:pt x="88" y="76"/>
                      </a:cubicBezTo>
                      <a:close/>
                      <a:moveTo>
                        <a:pt x="8" y="4"/>
                      </a:move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68"/>
                        <a:pt x="4" y="68"/>
                        <a:pt x="4" y="68"/>
                      </a:cubicBezTo>
                      <a:cubicBezTo>
                        <a:pt x="4" y="70"/>
                        <a:pt x="6" y="72"/>
                        <a:pt x="8" y="72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ubicBezTo>
                        <a:pt x="90" y="72"/>
                        <a:pt x="92" y="70"/>
                        <a:pt x="92" y="68"/>
                      </a:cubicBezTo>
                      <a:cubicBezTo>
                        <a:pt x="92" y="8"/>
                        <a:pt x="92" y="8"/>
                        <a:pt x="92" y="8"/>
                      </a:cubicBezTo>
                      <a:cubicBezTo>
                        <a:pt x="92" y="6"/>
                        <a:pt x="90" y="4"/>
                        <a:pt x="88" y="4"/>
                      </a:cubicBez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68" name="Freeform 75">
                  <a:extLst>
                    <a:ext uri="{FF2B5EF4-FFF2-40B4-BE49-F238E27FC236}">
                      <a16:creationId xmlns:a16="http://schemas.microsoft.com/office/drawing/2014/main" id="{28779E1F-18B0-B04C-E9B7-839FE823E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1925" y="2155825"/>
                  <a:ext cx="231775" cy="15875"/>
                </a:xfrm>
                <a:custGeom>
                  <a:avLst/>
                  <a:gdLst>
                    <a:gd name="T0" fmla="*/ 58 w 60"/>
                    <a:gd name="T1" fmla="*/ 4 h 4"/>
                    <a:gd name="T2" fmla="*/ 2 w 60"/>
                    <a:gd name="T3" fmla="*/ 4 h 4"/>
                    <a:gd name="T4" fmla="*/ 0 w 60"/>
                    <a:gd name="T5" fmla="*/ 2 h 4"/>
                    <a:gd name="T6" fmla="*/ 2 w 60"/>
                    <a:gd name="T7" fmla="*/ 0 h 4"/>
                    <a:gd name="T8" fmla="*/ 58 w 60"/>
                    <a:gd name="T9" fmla="*/ 0 h 4"/>
                    <a:gd name="T10" fmla="*/ 60 w 60"/>
                    <a:gd name="T11" fmla="*/ 2 h 4"/>
                    <a:gd name="T12" fmla="*/ 58 w 6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0" h="4">
                      <a:moveTo>
                        <a:pt x="58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60" y="1"/>
                        <a:pt x="60" y="2"/>
                      </a:cubicBezTo>
                      <a:cubicBezTo>
                        <a:pt x="60" y="3"/>
                        <a:pt x="59" y="4"/>
                        <a:pt x="58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69" name="Freeform 76">
                  <a:extLst>
                    <a:ext uri="{FF2B5EF4-FFF2-40B4-BE49-F238E27FC236}">
                      <a16:creationId xmlns:a16="http://schemas.microsoft.com/office/drawing/2014/main" id="{F225B5EB-2CEC-E970-72F0-A37414B7A6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938" y="2124075"/>
                  <a:ext cx="15875" cy="47625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0" name="Oval 77">
                  <a:extLst>
                    <a:ext uri="{FF2B5EF4-FFF2-40B4-BE49-F238E27FC236}">
                      <a16:creationId xmlns:a16="http://schemas.microsoft.com/office/drawing/2014/main" id="{50EDF267-7AA9-F7CF-B1C7-D2ED9AD03C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1938" y="2085975"/>
                  <a:ext cx="31750" cy="301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1" name="Rectangle 78">
                  <a:extLst>
                    <a:ext uri="{FF2B5EF4-FFF2-40B4-BE49-F238E27FC236}">
                      <a16:creationId xmlns:a16="http://schemas.microsoft.com/office/drawing/2014/main" id="{3161BFD8-39A9-D6E8-77AF-508D46BE47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0013" y="2062163"/>
                  <a:ext cx="355600" cy="158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2" name="Freeform 79">
                  <a:extLst>
                    <a:ext uri="{FF2B5EF4-FFF2-40B4-BE49-F238E27FC236}">
                      <a16:creationId xmlns:a16="http://schemas.microsoft.com/office/drawing/2014/main" id="{DFA2CA8F-C48A-81CD-640C-A70AC4D3C5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55738" y="1968500"/>
                  <a:ext cx="61913" cy="77788"/>
                </a:xfrm>
                <a:custGeom>
                  <a:avLst/>
                  <a:gdLst>
                    <a:gd name="T0" fmla="*/ 14 w 16"/>
                    <a:gd name="T1" fmla="*/ 20 h 20"/>
                    <a:gd name="T2" fmla="*/ 2 w 16"/>
                    <a:gd name="T3" fmla="*/ 20 h 20"/>
                    <a:gd name="T4" fmla="*/ 0 w 16"/>
                    <a:gd name="T5" fmla="*/ 18 h 20"/>
                    <a:gd name="T6" fmla="*/ 0 w 16"/>
                    <a:gd name="T7" fmla="*/ 2 h 20"/>
                    <a:gd name="T8" fmla="*/ 2 w 16"/>
                    <a:gd name="T9" fmla="*/ 0 h 20"/>
                    <a:gd name="T10" fmla="*/ 14 w 16"/>
                    <a:gd name="T11" fmla="*/ 0 h 20"/>
                    <a:gd name="T12" fmla="*/ 16 w 16"/>
                    <a:gd name="T13" fmla="*/ 2 h 20"/>
                    <a:gd name="T14" fmla="*/ 16 w 16"/>
                    <a:gd name="T15" fmla="*/ 18 h 20"/>
                    <a:gd name="T16" fmla="*/ 14 w 16"/>
                    <a:gd name="T17" fmla="*/ 20 h 20"/>
                    <a:gd name="T18" fmla="*/ 4 w 16"/>
                    <a:gd name="T19" fmla="*/ 16 h 20"/>
                    <a:gd name="T20" fmla="*/ 12 w 16"/>
                    <a:gd name="T21" fmla="*/ 16 h 20"/>
                    <a:gd name="T22" fmla="*/ 12 w 16"/>
                    <a:gd name="T23" fmla="*/ 4 h 20"/>
                    <a:gd name="T24" fmla="*/ 4 w 16"/>
                    <a:gd name="T25" fmla="*/ 4 h 20"/>
                    <a:gd name="T26" fmla="*/ 4 w 16"/>
                    <a:gd name="T27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0">
                      <a:moveTo>
                        <a:pt x="14" y="20"/>
                      </a:move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6" y="19"/>
                        <a:pt x="15" y="20"/>
                        <a:pt x="14" y="20"/>
                      </a:cubicBezTo>
                      <a:close/>
                      <a:moveTo>
                        <a:pt x="4" y="16"/>
                      </a:move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3" name="Freeform 80">
                  <a:extLst>
                    <a:ext uri="{FF2B5EF4-FFF2-40B4-BE49-F238E27FC236}">
                      <a16:creationId xmlns:a16="http://schemas.microsoft.com/office/drawing/2014/main" id="{C7214CBE-2853-7CB5-D8DF-CB6B727A5A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31938" y="1922463"/>
                  <a:ext cx="61913" cy="123825"/>
                </a:xfrm>
                <a:custGeom>
                  <a:avLst/>
                  <a:gdLst>
                    <a:gd name="T0" fmla="*/ 14 w 16"/>
                    <a:gd name="T1" fmla="*/ 32 h 32"/>
                    <a:gd name="T2" fmla="*/ 2 w 16"/>
                    <a:gd name="T3" fmla="*/ 32 h 32"/>
                    <a:gd name="T4" fmla="*/ 0 w 16"/>
                    <a:gd name="T5" fmla="*/ 30 h 32"/>
                    <a:gd name="T6" fmla="*/ 0 w 16"/>
                    <a:gd name="T7" fmla="*/ 2 h 32"/>
                    <a:gd name="T8" fmla="*/ 2 w 16"/>
                    <a:gd name="T9" fmla="*/ 0 h 32"/>
                    <a:gd name="T10" fmla="*/ 14 w 16"/>
                    <a:gd name="T11" fmla="*/ 0 h 32"/>
                    <a:gd name="T12" fmla="*/ 16 w 16"/>
                    <a:gd name="T13" fmla="*/ 2 h 32"/>
                    <a:gd name="T14" fmla="*/ 16 w 16"/>
                    <a:gd name="T15" fmla="*/ 30 h 32"/>
                    <a:gd name="T16" fmla="*/ 14 w 16"/>
                    <a:gd name="T17" fmla="*/ 32 h 32"/>
                    <a:gd name="T18" fmla="*/ 4 w 16"/>
                    <a:gd name="T19" fmla="*/ 28 h 32"/>
                    <a:gd name="T20" fmla="*/ 12 w 16"/>
                    <a:gd name="T21" fmla="*/ 28 h 32"/>
                    <a:gd name="T22" fmla="*/ 12 w 16"/>
                    <a:gd name="T23" fmla="*/ 4 h 32"/>
                    <a:gd name="T24" fmla="*/ 4 w 16"/>
                    <a:gd name="T25" fmla="*/ 4 h 32"/>
                    <a:gd name="T26" fmla="*/ 4 w 16"/>
                    <a:gd name="T2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32">
                      <a:moveTo>
                        <a:pt x="14" y="32"/>
                      </a:move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1"/>
                        <a:pt x="0" y="3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1"/>
                        <a:pt x="15" y="32"/>
                        <a:pt x="14" y="32"/>
                      </a:cubicBezTo>
                      <a:close/>
                      <a:moveTo>
                        <a:pt x="4" y="28"/>
                      </a:move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4" name="Freeform 81">
                  <a:extLst>
                    <a:ext uri="{FF2B5EF4-FFF2-40B4-BE49-F238E27FC236}">
                      <a16:creationId xmlns:a16="http://schemas.microsoft.com/office/drawing/2014/main" id="{859E8429-462A-2F22-54FD-353190B48E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25" y="1890713"/>
                  <a:ext cx="61913" cy="155575"/>
                </a:xfrm>
                <a:custGeom>
                  <a:avLst/>
                  <a:gdLst>
                    <a:gd name="T0" fmla="*/ 14 w 16"/>
                    <a:gd name="T1" fmla="*/ 40 h 40"/>
                    <a:gd name="T2" fmla="*/ 2 w 16"/>
                    <a:gd name="T3" fmla="*/ 40 h 40"/>
                    <a:gd name="T4" fmla="*/ 0 w 16"/>
                    <a:gd name="T5" fmla="*/ 38 h 40"/>
                    <a:gd name="T6" fmla="*/ 0 w 16"/>
                    <a:gd name="T7" fmla="*/ 2 h 40"/>
                    <a:gd name="T8" fmla="*/ 2 w 16"/>
                    <a:gd name="T9" fmla="*/ 0 h 40"/>
                    <a:gd name="T10" fmla="*/ 14 w 16"/>
                    <a:gd name="T11" fmla="*/ 0 h 40"/>
                    <a:gd name="T12" fmla="*/ 16 w 16"/>
                    <a:gd name="T13" fmla="*/ 2 h 40"/>
                    <a:gd name="T14" fmla="*/ 16 w 16"/>
                    <a:gd name="T15" fmla="*/ 38 h 40"/>
                    <a:gd name="T16" fmla="*/ 14 w 16"/>
                    <a:gd name="T17" fmla="*/ 40 h 40"/>
                    <a:gd name="T18" fmla="*/ 4 w 16"/>
                    <a:gd name="T19" fmla="*/ 36 h 40"/>
                    <a:gd name="T20" fmla="*/ 12 w 16"/>
                    <a:gd name="T21" fmla="*/ 36 h 40"/>
                    <a:gd name="T22" fmla="*/ 12 w 16"/>
                    <a:gd name="T23" fmla="*/ 4 h 40"/>
                    <a:gd name="T24" fmla="*/ 4 w 16"/>
                    <a:gd name="T25" fmla="*/ 4 h 40"/>
                    <a:gd name="T26" fmla="*/ 4 w 16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40">
                      <a:moveTo>
                        <a:pt x="14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8"/>
                        <a:pt x="16" y="38"/>
                        <a:pt x="16" y="38"/>
                      </a:cubicBezTo>
                      <a:cubicBezTo>
                        <a:pt x="16" y="39"/>
                        <a:pt x="15" y="40"/>
                        <a:pt x="14" y="40"/>
                      </a:cubicBezTo>
                      <a:close/>
                      <a:moveTo>
                        <a:pt x="4" y="36"/>
                      </a:moveTo>
                      <a:cubicBezTo>
                        <a:pt x="12" y="36"/>
                        <a:pt x="12" y="36"/>
                        <a:pt x="12" y="3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5" name="Rectangle 82">
                  <a:extLst>
                    <a:ext uri="{FF2B5EF4-FFF2-40B4-BE49-F238E27FC236}">
                      <a16:creationId xmlns:a16="http://schemas.microsoft.com/office/drawing/2014/main" id="{84A323AD-305C-6C7E-E5EC-FCA6B41311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3988" y="1890713"/>
                  <a:ext cx="15875" cy="155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</p:grpSp>
        </p:grpSp>
        <p:sp>
          <p:nvSpPr>
            <p:cNvPr id="9" name="Freeform 86">
              <a:extLst>
                <a:ext uri="{FF2B5EF4-FFF2-40B4-BE49-F238E27FC236}">
                  <a16:creationId xmlns:a16="http://schemas.microsoft.com/office/drawing/2014/main" id="{A7DBEDBD-A07E-5EAE-C47D-012BC90CA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652" y="4244641"/>
              <a:ext cx="413573" cy="1353347"/>
            </a:xfrm>
            <a:custGeom>
              <a:avLst/>
              <a:gdLst>
                <a:gd name="T0" fmla="*/ 289 w 289"/>
                <a:gd name="T1" fmla="*/ 945 h 945"/>
                <a:gd name="T2" fmla="*/ 0 w 289"/>
                <a:gd name="T3" fmla="*/ 127 h 945"/>
                <a:gd name="T4" fmla="*/ 6 w 289"/>
                <a:gd name="T5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9" h="945">
                  <a:moveTo>
                    <a:pt x="289" y="945"/>
                  </a:moveTo>
                  <a:cubicBezTo>
                    <a:pt x="108" y="721"/>
                    <a:pt x="0" y="437"/>
                    <a:pt x="0" y="127"/>
                  </a:cubicBezTo>
                  <a:cubicBezTo>
                    <a:pt x="0" y="84"/>
                    <a:pt x="2" y="42"/>
                    <a:pt x="6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" name="Freeform 87">
              <a:extLst>
                <a:ext uri="{FF2B5EF4-FFF2-40B4-BE49-F238E27FC236}">
                  <a16:creationId xmlns:a16="http://schemas.microsoft.com/office/drawing/2014/main" id="{BA6E1305-3062-4375-3CF6-55CA99154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010" y="6144776"/>
              <a:ext cx="1396339" cy="150775"/>
            </a:xfrm>
            <a:custGeom>
              <a:avLst/>
              <a:gdLst>
                <a:gd name="T0" fmla="*/ 975 w 975"/>
                <a:gd name="T1" fmla="*/ 21 h 105"/>
                <a:gd name="T2" fmla="*/ 513 w 975"/>
                <a:gd name="T3" fmla="*/ 105 h 105"/>
                <a:gd name="T4" fmla="*/ 0 w 975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5" h="105">
                  <a:moveTo>
                    <a:pt x="975" y="21"/>
                  </a:moveTo>
                  <a:cubicBezTo>
                    <a:pt x="831" y="76"/>
                    <a:pt x="676" y="105"/>
                    <a:pt x="513" y="105"/>
                  </a:cubicBezTo>
                  <a:cubicBezTo>
                    <a:pt x="331" y="105"/>
                    <a:pt x="157" y="68"/>
                    <a:pt x="0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" name="Freeform 88">
              <a:extLst>
                <a:ext uri="{FF2B5EF4-FFF2-40B4-BE49-F238E27FC236}">
                  <a16:creationId xmlns:a16="http://schemas.microsoft.com/office/drawing/2014/main" id="{C44803C6-D909-2C03-39F9-E44E72D6A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906" y="4342131"/>
              <a:ext cx="468070" cy="1321860"/>
            </a:xfrm>
            <a:custGeom>
              <a:avLst/>
              <a:gdLst>
                <a:gd name="T0" fmla="*/ 326 w 327"/>
                <a:gd name="T1" fmla="*/ 0 h 923"/>
                <a:gd name="T2" fmla="*/ 327 w 327"/>
                <a:gd name="T3" fmla="*/ 59 h 923"/>
                <a:gd name="T4" fmla="*/ 0 w 327"/>
                <a:gd name="T5" fmla="*/ 923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7" h="923">
                  <a:moveTo>
                    <a:pt x="326" y="0"/>
                  </a:moveTo>
                  <a:cubicBezTo>
                    <a:pt x="327" y="19"/>
                    <a:pt x="327" y="39"/>
                    <a:pt x="327" y="59"/>
                  </a:cubicBezTo>
                  <a:cubicBezTo>
                    <a:pt x="327" y="390"/>
                    <a:pt x="204" y="693"/>
                    <a:pt x="0" y="923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2" name="Freeform 89">
              <a:extLst>
                <a:ext uri="{FF2B5EF4-FFF2-40B4-BE49-F238E27FC236}">
                  <a16:creationId xmlns:a16="http://schemas.microsoft.com/office/drawing/2014/main" id="{0BD0951B-AC3B-1C0D-9546-9AC5A5636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958" y="2620624"/>
              <a:ext cx="1129908" cy="864689"/>
            </a:xfrm>
            <a:custGeom>
              <a:avLst/>
              <a:gdLst>
                <a:gd name="T0" fmla="*/ 0 w 789"/>
                <a:gd name="T1" fmla="*/ 0 h 604"/>
                <a:gd name="T2" fmla="*/ 789 w 789"/>
                <a:gd name="T3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89" h="604">
                  <a:moveTo>
                    <a:pt x="0" y="0"/>
                  </a:moveTo>
                  <a:cubicBezTo>
                    <a:pt x="335" y="90"/>
                    <a:pt x="618" y="311"/>
                    <a:pt x="789" y="604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Freeform 90">
              <a:extLst>
                <a:ext uri="{FF2B5EF4-FFF2-40B4-BE49-F238E27FC236}">
                  <a16:creationId xmlns:a16="http://schemas.microsoft.com/office/drawing/2014/main" id="{5487427C-8CB7-8D5B-9491-690F95969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020" y="2600643"/>
              <a:ext cx="1161395" cy="804742"/>
            </a:xfrm>
            <a:custGeom>
              <a:avLst/>
              <a:gdLst>
                <a:gd name="T0" fmla="*/ 0 w 811"/>
                <a:gd name="T1" fmla="*/ 562 h 562"/>
                <a:gd name="T2" fmla="*/ 811 w 811"/>
                <a:gd name="T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11" h="562">
                  <a:moveTo>
                    <a:pt x="0" y="562"/>
                  </a:moveTo>
                  <a:cubicBezTo>
                    <a:pt x="184" y="281"/>
                    <a:pt x="473" y="75"/>
                    <a:pt x="811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EF78DC-0C9A-38CC-B715-681FFDF0BC42}"/>
                </a:ext>
              </a:extLst>
            </p:cNvPr>
            <p:cNvGrpSpPr/>
            <p:nvPr/>
          </p:nvGrpSpPr>
          <p:grpSpPr>
            <a:xfrm>
              <a:off x="4291268" y="2218523"/>
              <a:ext cx="539768" cy="539768"/>
              <a:chOff x="2439588" y="2833628"/>
              <a:chExt cx="405535" cy="405535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78E44594-7BAE-FF2F-EBAD-0B3317FFFBFE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AF4992A0-A85F-8140-A5BB-A7F30499701D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3B393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743430C-8D57-B21B-34A6-4F9EFAEDDF55}"/>
                </a:ext>
              </a:extLst>
            </p:cNvPr>
            <p:cNvGrpSpPr/>
            <p:nvPr/>
          </p:nvGrpSpPr>
          <p:grpSpPr>
            <a:xfrm>
              <a:off x="6028023" y="3635988"/>
              <a:ext cx="539768" cy="539768"/>
              <a:chOff x="2439588" y="2833628"/>
              <a:chExt cx="405535" cy="405535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CDBAE485-6849-95E7-4375-375485EC9661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EAF1DE1D-98E0-784A-27EE-676EF32E0C26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8DEDA07-6598-FAE3-6A74-FFAEF9F4F153}"/>
                </a:ext>
              </a:extLst>
            </p:cNvPr>
            <p:cNvGrpSpPr/>
            <p:nvPr/>
          </p:nvGrpSpPr>
          <p:grpSpPr>
            <a:xfrm>
              <a:off x="3099542" y="5643044"/>
              <a:ext cx="539768" cy="539768"/>
              <a:chOff x="2439588" y="2833628"/>
              <a:chExt cx="405535" cy="405535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2EB82C7D-A153-9C07-C4BC-EFD824B902BE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EC67EE5-60C5-8F97-76CF-5D6D5C1C6CFF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96015B4-ABC7-7FC4-01FA-C7607BC26839}"/>
                </a:ext>
              </a:extLst>
            </p:cNvPr>
            <p:cNvGrpSpPr/>
            <p:nvPr/>
          </p:nvGrpSpPr>
          <p:grpSpPr>
            <a:xfrm>
              <a:off x="5298905" y="5773807"/>
              <a:ext cx="539768" cy="539768"/>
              <a:chOff x="2439588" y="2833628"/>
              <a:chExt cx="405535" cy="405535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688B67D7-1091-C58F-2A28-98066A818C03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4279D04-EED6-C231-D5D3-9A9F9D5943C5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78D2D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2226915-9E24-C3A1-A9FC-FC5DA0BE840E}"/>
                </a:ext>
              </a:extLst>
            </p:cNvPr>
            <p:cNvSpPr txBox="1"/>
            <p:nvPr/>
          </p:nvSpPr>
          <p:spPr>
            <a:xfrm>
              <a:off x="3511060" y="1677391"/>
              <a:ext cx="2297846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Investment in Local Presence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7C1921F-9EE8-8706-2661-60091DA5D82F}"/>
                </a:ext>
              </a:extLst>
            </p:cNvPr>
            <p:cNvSpPr txBox="1"/>
            <p:nvPr/>
          </p:nvSpPr>
          <p:spPr>
            <a:xfrm>
              <a:off x="1191208" y="3519970"/>
              <a:ext cx="1196698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Partnerships with Librarie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DC10FF4-6F8D-12EC-3992-747EC34D4D75}"/>
                </a:ext>
              </a:extLst>
            </p:cNvPr>
            <p:cNvSpPr txBox="1"/>
            <p:nvPr/>
          </p:nvSpPr>
          <p:spPr>
            <a:xfrm>
              <a:off x="1011843" y="5672101"/>
              <a:ext cx="1996197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Media and Marketing Partnership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6B4D87A-9E28-B61E-DE15-49C4742EEB17}"/>
                </a:ext>
              </a:extLst>
            </p:cNvPr>
            <p:cNvSpPr txBox="1"/>
            <p:nvPr/>
          </p:nvSpPr>
          <p:spPr>
            <a:xfrm>
              <a:off x="6671120" y="3665045"/>
              <a:ext cx="1413700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Content Creation Partnership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3A28959-BE3B-154C-A60A-E784232CC751}"/>
                </a:ext>
              </a:extLst>
            </p:cNvPr>
            <p:cNvSpPr txBox="1"/>
            <p:nvPr/>
          </p:nvSpPr>
          <p:spPr>
            <a:xfrm>
              <a:off x="5949124" y="5802864"/>
              <a:ext cx="1344304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Government and Education Authorities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EEBAB6F-2C45-2963-A52B-7710C19F47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29752" y="2357007"/>
              <a:ext cx="262801" cy="262800"/>
              <a:chOff x="6445250" y="1803400"/>
              <a:chExt cx="371476" cy="371475"/>
            </a:xfrm>
            <a:solidFill>
              <a:sysClr val="window" lastClr="FFFFFF"/>
            </a:solidFill>
          </p:grpSpPr>
          <p:sp>
            <p:nvSpPr>
              <p:cNvPr id="43" name="Freeform 94">
                <a:extLst>
                  <a:ext uri="{FF2B5EF4-FFF2-40B4-BE49-F238E27FC236}">
                    <a16:creationId xmlns:a16="http://schemas.microsoft.com/office/drawing/2014/main" id="{B002430E-68F7-C871-B380-10A90B9D63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3038" y="1989138"/>
                <a:ext cx="107950" cy="107950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4 h 28"/>
                  <a:gd name="T12" fmla="*/ 4 w 28"/>
                  <a:gd name="T13" fmla="*/ 14 h 28"/>
                  <a:gd name="T14" fmla="*/ 14 w 28"/>
                  <a:gd name="T15" fmla="*/ 24 h 28"/>
                  <a:gd name="T16" fmla="*/ 24 w 28"/>
                  <a:gd name="T17" fmla="*/ 14 h 28"/>
                  <a:gd name="T18" fmla="*/ 14 w 28"/>
                  <a:gd name="T1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20"/>
                      <a:pt x="8" y="24"/>
                      <a:pt x="14" y="24"/>
                    </a:cubicBezTo>
                    <a:cubicBezTo>
                      <a:pt x="20" y="24"/>
                      <a:pt x="24" y="20"/>
                      <a:pt x="24" y="14"/>
                    </a:cubicBezTo>
                    <a:cubicBezTo>
                      <a:pt x="24" y="8"/>
                      <a:pt x="20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4" name="Freeform 95">
                <a:extLst>
                  <a:ext uri="{FF2B5EF4-FFF2-40B4-BE49-F238E27FC236}">
                    <a16:creationId xmlns:a16="http://schemas.microsoft.com/office/drawing/2014/main" id="{CD5B3084-04A5-41FB-D296-270E3C947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45250" y="1911350"/>
                <a:ext cx="263525" cy="263525"/>
              </a:xfrm>
              <a:custGeom>
                <a:avLst/>
                <a:gdLst>
                  <a:gd name="T0" fmla="*/ 26 w 68"/>
                  <a:gd name="T1" fmla="*/ 68 h 68"/>
                  <a:gd name="T2" fmla="*/ 24 w 68"/>
                  <a:gd name="T3" fmla="*/ 60 h 68"/>
                  <a:gd name="T4" fmla="*/ 11 w 68"/>
                  <a:gd name="T5" fmla="*/ 59 h 68"/>
                  <a:gd name="T6" fmla="*/ 1 w 68"/>
                  <a:gd name="T7" fmla="*/ 44 h 68"/>
                  <a:gd name="T8" fmla="*/ 1 w 68"/>
                  <a:gd name="T9" fmla="*/ 41 h 68"/>
                  <a:gd name="T10" fmla="*/ 6 w 68"/>
                  <a:gd name="T11" fmla="*/ 30 h 68"/>
                  <a:gd name="T12" fmla="*/ 1 w 68"/>
                  <a:gd name="T13" fmla="*/ 24 h 68"/>
                  <a:gd name="T14" fmla="*/ 10 w 68"/>
                  <a:gd name="T15" fmla="*/ 9 h 68"/>
                  <a:gd name="T16" fmla="*/ 16 w 68"/>
                  <a:gd name="T17" fmla="*/ 12 h 68"/>
                  <a:gd name="T18" fmla="*/ 24 w 68"/>
                  <a:gd name="T19" fmla="*/ 2 h 68"/>
                  <a:gd name="T20" fmla="*/ 42 w 68"/>
                  <a:gd name="T21" fmla="*/ 0 h 68"/>
                  <a:gd name="T22" fmla="*/ 44 w 68"/>
                  <a:gd name="T23" fmla="*/ 8 h 68"/>
                  <a:gd name="T24" fmla="*/ 57 w 68"/>
                  <a:gd name="T25" fmla="*/ 9 h 68"/>
                  <a:gd name="T26" fmla="*/ 67 w 68"/>
                  <a:gd name="T27" fmla="*/ 24 h 68"/>
                  <a:gd name="T28" fmla="*/ 62 w 68"/>
                  <a:gd name="T29" fmla="*/ 30 h 68"/>
                  <a:gd name="T30" fmla="*/ 67 w 68"/>
                  <a:gd name="T31" fmla="*/ 41 h 68"/>
                  <a:gd name="T32" fmla="*/ 67 w 68"/>
                  <a:gd name="T33" fmla="*/ 44 h 68"/>
                  <a:gd name="T34" fmla="*/ 58 w 68"/>
                  <a:gd name="T35" fmla="*/ 59 h 68"/>
                  <a:gd name="T36" fmla="*/ 52 w 68"/>
                  <a:gd name="T37" fmla="*/ 56 h 68"/>
                  <a:gd name="T38" fmla="*/ 44 w 68"/>
                  <a:gd name="T39" fmla="*/ 66 h 68"/>
                  <a:gd name="T40" fmla="*/ 28 w 68"/>
                  <a:gd name="T41" fmla="*/ 64 h 68"/>
                  <a:gd name="T42" fmla="*/ 40 w 68"/>
                  <a:gd name="T43" fmla="*/ 59 h 68"/>
                  <a:gd name="T44" fmla="*/ 50 w 68"/>
                  <a:gd name="T45" fmla="*/ 52 h 68"/>
                  <a:gd name="T46" fmla="*/ 57 w 68"/>
                  <a:gd name="T47" fmla="*/ 54 h 68"/>
                  <a:gd name="T48" fmla="*/ 58 w 68"/>
                  <a:gd name="T49" fmla="*/ 41 h 68"/>
                  <a:gd name="T50" fmla="*/ 57 w 68"/>
                  <a:gd name="T51" fmla="*/ 29 h 68"/>
                  <a:gd name="T52" fmla="*/ 63 w 68"/>
                  <a:gd name="T53" fmla="*/ 24 h 68"/>
                  <a:gd name="T54" fmla="*/ 52 w 68"/>
                  <a:gd name="T55" fmla="*/ 16 h 68"/>
                  <a:gd name="T56" fmla="*/ 41 w 68"/>
                  <a:gd name="T57" fmla="*/ 11 h 68"/>
                  <a:gd name="T58" fmla="*/ 40 w 68"/>
                  <a:gd name="T59" fmla="*/ 4 h 68"/>
                  <a:gd name="T60" fmla="*/ 28 w 68"/>
                  <a:gd name="T61" fmla="*/ 9 h 68"/>
                  <a:gd name="T62" fmla="*/ 18 w 68"/>
                  <a:gd name="T63" fmla="*/ 16 h 68"/>
                  <a:gd name="T64" fmla="*/ 11 w 68"/>
                  <a:gd name="T65" fmla="*/ 14 h 68"/>
                  <a:gd name="T66" fmla="*/ 10 w 68"/>
                  <a:gd name="T67" fmla="*/ 27 h 68"/>
                  <a:gd name="T68" fmla="*/ 11 w 68"/>
                  <a:gd name="T69" fmla="*/ 39 h 68"/>
                  <a:gd name="T70" fmla="*/ 5 w 68"/>
                  <a:gd name="T71" fmla="*/ 44 h 68"/>
                  <a:gd name="T72" fmla="*/ 16 w 68"/>
                  <a:gd name="T73" fmla="*/ 52 h 68"/>
                  <a:gd name="T74" fmla="*/ 27 w 68"/>
                  <a:gd name="T75" fmla="*/ 57 h 68"/>
                  <a:gd name="T76" fmla="*/ 28 w 68"/>
                  <a:gd name="T77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68">
                    <a:moveTo>
                      <a:pt x="42" y="68"/>
                    </a:move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8"/>
                      <a:pt x="24" y="67"/>
                      <a:pt x="24" y="66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1" y="59"/>
                      <a:pt x="19" y="58"/>
                      <a:pt x="16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9" y="5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2"/>
                      <a:pt x="1" y="42"/>
                      <a:pt x="1" y="41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5"/>
                      <a:pt x="6" y="33"/>
                      <a:pt x="6" y="30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5"/>
                      <a:pt x="1" y="2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9"/>
                      <a:pt x="10" y="9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9" y="10"/>
                      <a:pt x="21" y="9"/>
                      <a:pt x="24" y="8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5" y="0"/>
                      <a:pt x="2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4" y="2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7" y="9"/>
                      <a:pt x="49" y="10"/>
                      <a:pt x="52" y="1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8" y="9"/>
                      <a:pt x="59" y="9"/>
                      <a:pt x="59" y="10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5"/>
                      <a:pt x="68" y="26"/>
                      <a:pt x="67" y="2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3"/>
                      <a:pt x="62" y="35"/>
                      <a:pt x="62" y="38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2"/>
                      <a:pt x="68" y="42"/>
                      <a:pt x="68" y="43"/>
                    </a:cubicBezTo>
                    <a:cubicBezTo>
                      <a:pt x="68" y="43"/>
                      <a:pt x="68" y="44"/>
                      <a:pt x="67" y="44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8"/>
                      <a:pt x="59" y="59"/>
                      <a:pt x="58" y="59"/>
                    </a:cubicBezTo>
                    <a:cubicBezTo>
                      <a:pt x="58" y="59"/>
                      <a:pt x="57" y="59"/>
                      <a:pt x="57" y="59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49" y="58"/>
                      <a:pt x="47" y="59"/>
                      <a:pt x="44" y="6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7"/>
                      <a:pt x="43" y="68"/>
                      <a:pt x="42" y="68"/>
                    </a:cubicBezTo>
                    <a:close/>
                    <a:moveTo>
                      <a:pt x="28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8"/>
                      <a:pt x="41" y="57"/>
                      <a:pt x="41" y="57"/>
                    </a:cubicBezTo>
                    <a:cubicBezTo>
                      <a:pt x="45" y="56"/>
                      <a:pt x="48" y="54"/>
                      <a:pt x="50" y="52"/>
                    </a:cubicBezTo>
                    <a:cubicBezTo>
                      <a:pt x="51" y="51"/>
                      <a:pt x="52" y="51"/>
                      <a:pt x="52" y="52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8" y="41"/>
                      <a:pt x="57" y="40"/>
                      <a:pt x="57" y="39"/>
                    </a:cubicBezTo>
                    <a:cubicBezTo>
                      <a:pt x="58" y="36"/>
                      <a:pt x="58" y="32"/>
                      <a:pt x="57" y="29"/>
                    </a:cubicBezTo>
                    <a:cubicBezTo>
                      <a:pt x="57" y="28"/>
                      <a:pt x="58" y="27"/>
                      <a:pt x="58" y="27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0" y="16"/>
                    </a:cubicBezTo>
                    <a:cubicBezTo>
                      <a:pt x="48" y="14"/>
                      <a:pt x="45" y="12"/>
                      <a:pt x="41" y="11"/>
                    </a:cubicBezTo>
                    <a:cubicBezTo>
                      <a:pt x="41" y="11"/>
                      <a:pt x="40" y="10"/>
                      <a:pt x="40" y="9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10"/>
                      <a:pt x="27" y="11"/>
                      <a:pt x="27" y="11"/>
                    </a:cubicBezTo>
                    <a:cubicBezTo>
                      <a:pt x="23" y="12"/>
                      <a:pt x="20" y="14"/>
                      <a:pt x="18" y="16"/>
                    </a:cubicBezTo>
                    <a:cubicBezTo>
                      <a:pt x="17" y="17"/>
                      <a:pt x="16" y="17"/>
                      <a:pt x="16" y="16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11" y="28"/>
                      <a:pt x="11" y="29"/>
                    </a:cubicBezTo>
                    <a:cubicBezTo>
                      <a:pt x="10" y="32"/>
                      <a:pt x="10" y="36"/>
                      <a:pt x="11" y="39"/>
                    </a:cubicBezTo>
                    <a:cubicBezTo>
                      <a:pt x="11" y="40"/>
                      <a:pt x="10" y="41"/>
                      <a:pt x="10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8" y="52"/>
                    </a:cubicBezTo>
                    <a:cubicBezTo>
                      <a:pt x="20" y="54"/>
                      <a:pt x="23" y="56"/>
                      <a:pt x="27" y="57"/>
                    </a:cubicBezTo>
                    <a:cubicBezTo>
                      <a:pt x="27" y="57"/>
                      <a:pt x="28" y="58"/>
                      <a:pt x="28" y="59"/>
                    </a:cubicBez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5" name="Freeform 96">
                <a:extLst>
                  <a:ext uri="{FF2B5EF4-FFF2-40B4-BE49-F238E27FC236}">
                    <a16:creationId xmlns:a16="http://schemas.microsoft.com/office/drawing/2014/main" id="{680F73DF-F561-7CAD-965D-09237004CC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8775" y="1849438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6" name="Freeform 97">
                <a:extLst>
                  <a:ext uri="{FF2B5EF4-FFF2-40B4-BE49-F238E27FC236}">
                    <a16:creationId xmlns:a16="http://schemas.microsoft.com/office/drawing/2014/main" id="{9EEDF018-4052-9D74-F53B-09C517C6D0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2738" y="1803400"/>
                <a:ext cx="153988" cy="155575"/>
              </a:xfrm>
              <a:custGeom>
                <a:avLst/>
                <a:gdLst>
                  <a:gd name="T0" fmla="*/ 16 w 40"/>
                  <a:gd name="T1" fmla="*/ 40 h 40"/>
                  <a:gd name="T2" fmla="*/ 14 w 40"/>
                  <a:gd name="T3" fmla="*/ 35 h 40"/>
                  <a:gd name="T4" fmla="*/ 7 w 40"/>
                  <a:gd name="T5" fmla="*/ 34 h 40"/>
                  <a:gd name="T6" fmla="*/ 5 w 40"/>
                  <a:gd name="T7" fmla="*/ 33 h 40"/>
                  <a:gd name="T8" fmla="*/ 1 w 40"/>
                  <a:gd name="T9" fmla="*/ 24 h 40"/>
                  <a:gd name="T10" fmla="*/ 4 w 40"/>
                  <a:gd name="T11" fmla="*/ 18 h 40"/>
                  <a:gd name="T12" fmla="*/ 0 w 40"/>
                  <a:gd name="T13" fmla="*/ 15 h 40"/>
                  <a:gd name="T14" fmla="*/ 5 w 40"/>
                  <a:gd name="T15" fmla="*/ 7 h 40"/>
                  <a:gd name="T16" fmla="*/ 7 w 40"/>
                  <a:gd name="T17" fmla="*/ 6 h 40"/>
                  <a:gd name="T18" fmla="*/ 14 w 40"/>
                  <a:gd name="T19" fmla="*/ 5 h 40"/>
                  <a:gd name="T20" fmla="*/ 16 w 40"/>
                  <a:gd name="T21" fmla="*/ 0 h 40"/>
                  <a:gd name="T22" fmla="*/ 26 w 40"/>
                  <a:gd name="T23" fmla="*/ 2 h 40"/>
                  <a:gd name="T24" fmla="*/ 30 w 40"/>
                  <a:gd name="T25" fmla="*/ 7 h 40"/>
                  <a:gd name="T26" fmla="*/ 34 w 40"/>
                  <a:gd name="T27" fmla="*/ 6 h 40"/>
                  <a:gd name="T28" fmla="*/ 39 w 40"/>
                  <a:gd name="T29" fmla="*/ 13 h 40"/>
                  <a:gd name="T30" fmla="*/ 36 w 40"/>
                  <a:gd name="T31" fmla="*/ 18 h 40"/>
                  <a:gd name="T32" fmla="*/ 39 w 40"/>
                  <a:gd name="T33" fmla="*/ 24 h 40"/>
                  <a:gd name="T34" fmla="*/ 35 w 40"/>
                  <a:gd name="T35" fmla="*/ 33 h 40"/>
                  <a:gd name="T36" fmla="*/ 33 w 40"/>
                  <a:gd name="T37" fmla="*/ 34 h 40"/>
                  <a:gd name="T38" fmla="*/ 26 w 40"/>
                  <a:gd name="T39" fmla="*/ 35 h 40"/>
                  <a:gd name="T40" fmla="*/ 24 w 40"/>
                  <a:gd name="T41" fmla="*/ 40 h 40"/>
                  <a:gd name="T42" fmla="*/ 22 w 40"/>
                  <a:gd name="T43" fmla="*/ 36 h 40"/>
                  <a:gd name="T44" fmla="*/ 23 w 40"/>
                  <a:gd name="T45" fmla="*/ 31 h 40"/>
                  <a:gd name="T46" fmla="*/ 31 w 40"/>
                  <a:gd name="T47" fmla="*/ 28 h 40"/>
                  <a:gd name="T48" fmla="*/ 35 w 40"/>
                  <a:gd name="T49" fmla="*/ 26 h 40"/>
                  <a:gd name="T50" fmla="*/ 32 w 40"/>
                  <a:gd name="T51" fmla="*/ 23 h 40"/>
                  <a:gd name="T52" fmla="*/ 33 w 40"/>
                  <a:gd name="T53" fmla="*/ 15 h 40"/>
                  <a:gd name="T54" fmla="*/ 33 w 40"/>
                  <a:gd name="T55" fmla="*/ 10 h 40"/>
                  <a:gd name="T56" fmla="*/ 28 w 40"/>
                  <a:gd name="T57" fmla="*/ 11 h 40"/>
                  <a:gd name="T58" fmla="*/ 22 w 40"/>
                  <a:gd name="T59" fmla="*/ 7 h 40"/>
                  <a:gd name="T60" fmla="*/ 18 w 40"/>
                  <a:gd name="T61" fmla="*/ 4 h 40"/>
                  <a:gd name="T62" fmla="*/ 17 w 40"/>
                  <a:gd name="T63" fmla="*/ 9 h 40"/>
                  <a:gd name="T64" fmla="*/ 9 w 40"/>
                  <a:gd name="T65" fmla="*/ 12 h 40"/>
                  <a:gd name="T66" fmla="*/ 5 w 40"/>
                  <a:gd name="T67" fmla="*/ 14 h 40"/>
                  <a:gd name="T68" fmla="*/ 8 w 40"/>
                  <a:gd name="T69" fmla="*/ 17 h 40"/>
                  <a:gd name="T70" fmla="*/ 7 w 40"/>
                  <a:gd name="T71" fmla="*/ 25 h 40"/>
                  <a:gd name="T72" fmla="*/ 7 w 40"/>
                  <a:gd name="T73" fmla="*/ 30 h 40"/>
                  <a:gd name="T74" fmla="*/ 12 w 40"/>
                  <a:gd name="T75" fmla="*/ 29 h 40"/>
                  <a:gd name="T76" fmla="*/ 18 w 40"/>
                  <a:gd name="T77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" h="40">
                    <a:moveTo>
                      <a:pt x="2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0"/>
                      <a:pt x="14" y="39"/>
                      <a:pt x="14" y="38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1" y="34"/>
                      <a:pt x="10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4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4"/>
                      <a:pt x="1" y="2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1"/>
                      <a:pt x="4" y="19"/>
                      <a:pt x="4" y="18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5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6"/>
                      <a:pt x="7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3" y="6"/>
                      <a:pt x="14" y="5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5" y="0"/>
                      <a:pt x="1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7" y="6"/>
                      <a:pt x="29" y="6"/>
                      <a:pt x="30" y="7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4" y="5"/>
                      <a:pt x="34" y="6"/>
                    </a:cubicBezTo>
                    <a:cubicBezTo>
                      <a:pt x="35" y="6"/>
                      <a:pt x="35" y="6"/>
                      <a:pt x="35" y="7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0" y="16"/>
                      <a:pt x="39" y="1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21"/>
                      <a:pt x="36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40" y="24"/>
                      <a:pt x="40" y="26"/>
                      <a:pt x="39" y="27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4"/>
                      <a:pt x="35" y="34"/>
                      <a:pt x="34" y="34"/>
                    </a:cubicBezTo>
                    <a:cubicBezTo>
                      <a:pt x="34" y="35"/>
                      <a:pt x="33" y="34"/>
                      <a:pt x="33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9" y="33"/>
                      <a:pt x="27" y="34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39"/>
                      <a:pt x="25" y="40"/>
                      <a:pt x="24" y="40"/>
                    </a:cubicBezTo>
                    <a:close/>
                    <a:moveTo>
                      <a:pt x="18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2" y="32"/>
                      <a:pt x="23" y="32"/>
                      <a:pt x="23" y="31"/>
                    </a:cubicBezTo>
                    <a:cubicBezTo>
                      <a:pt x="25" y="31"/>
                      <a:pt x="27" y="30"/>
                      <a:pt x="28" y="29"/>
                    </a:cubicBezTo>
                    <a:cubicBezTo>
                      <a:pt x="29" y="28"/>
                      <a:pt x="30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2" y="25"/>
                      <a:pt x="31" y="24"/>
                      <a:pt x="32" y="23"/>
                    </a:cubicBezTo>
                    <a:cubicBezTo>
                      <a:pt x="32" y="21"/>
                      <a:pt x="32" y="19"/>
                      <a:pt x="32" y="17"/>
                    </a:cubicBezTo>
                    <a:cubicBezTo>
                      <a:pt x="31" y="16"/>
                      <a:pt x="32" y="15"/>
                      <a:pt x="33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0" y="12"/>
                      <a:pt x="29" y="12"/>
                      <a:pt x="28" y="11"/>
                    </a:cubicBezTo>
                    <a:cubicBezTo>
                      <a:pt x="27" y="10"/>
                      <a:pt x="25" y="9"/>
                      <a:pt x="23" y="9"/>
                    </a:cubicBezTo>
                    <a:cubicBezTo>
                      <a:pt x="23" y="8"/>
                      <a:pt x="22" y="8"/>
                      <a:pt x="22" y="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8"/>
                      <a:pt x="17" y="8"/>
                      <a:pt x="17" y="9"/>
                    </a:cubicBezTo>
                    <a:cubicBezTo>
                      <a:pt x="15" y="9"/>
                      <a:pt x="13" y="10"/>
                      <a:pt x="12" y="11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5"/>
                      <a:pt x="9" y="16"/>
                      <a:pt x="8" y="17"/>
                    </a:cubicBezTo>
                    <a:cubicBezTo>
                      <a:pt x="8" y="19"/>
                      <a:pt x="8" y="21"/>
                      <a:pt x="8" y="23"/>
                    </a:cubicBezTo>
                    <a:cubicBezTo>
                      <a:pt x="9" y="24"/>
                      <a:pt x="8" y="24"/>
                      <a:pt x="7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1" y="28"/>
                      <a:pt x="12" y="29"/>
                    </a:cubicBezTo>
                    <a:cubicBezTo>
                      <a:pt x="13" y="30"/>
                      <a:pt x="15" y="31"/>
                      <a:pt x="17" y="31"/>
                    </a:cubicBezTo>
                    <a:cubicBezTo>
                      <a:pt x="17" y="32"/>
                      <a:pt x="18" y="33"/>
                      <a:pt x="18" y="33"/>
                    </a:cubicBezTo>
                    <a:lnTo>
                      <a:pt x="18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91F3A1-1219-20FD-BDD0-20254D43AD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66507" y="3774472"/>
              <a:ext cx="262800" cy="262800"/>
              <a:chOff x="3903073" y="3496769"/>
              <a:chExt cx="360000" cy="360000"/>
            </a:xfrm>
          </p:grpSpPr>
          <p:sp>
            <p:nvSpPr>
              <p:cNvPr id="41" name="Freeform 79">
                <a:extLst>
                  <a:ext uri="{FF2B5EF4-FFF2-40B4-BE49-F238E27FC236}">
                    <a16:creationId xmlns:a16="http://schemas.microsoft.com/office/drawing/2014/main" id="{19E9201B-7776-1295-5C4B-358DC6F63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3073" y="3496769"/>
                <a:ext cx="255385" cy="255385"/>
              </a:xfrm>
              <a:custGeom>
                <a:avLst/>
                <a:gdLst>
                  <a:gd name="T0" fmla="*/ 34 w 68"/>
                  <a:gd name="T1" fmla="*/ 68 h 68"/>
                  <a:gd name="T2" fmla="*/ 0 w 68"/>
                  <a:gd name="T3" fmla="*/ 34 h 68"/>
                  <a:gd name="T4" fmla="*/ 34 w 68"/>
                  <a:gd name="T5" fmla="*/ 0 h 68"/>
                  <a:gd name="T6" fmla="*/ 68 w 68"/>
                  <a:gd name="T7" fmla="*/ 34 h 68"/>
                  <a:gd name="T8" fmla="*/ 34 w 68"/>
                  <a:gd name="T9" fmla="*/ 68 h 68"/>
                  <a:gd name="T10" fmla="*/ 34 w 68"/>
                  <a:gd name="T11" fmla="*/ 4 h 68"/>
                  <a:gd name="T12" fmla="*/ 4 w 68"/>
                  <a:gd name="T13" fmla="*/ 34 h 68"/>
                  <a:gd name="T14" fmla="*/ 34 w 68"/>
                  <a:gd name="T15" fmla="*/ 64 h 68"/>
                  <a:gd name="T16" fmla="*/ 64 w 68"/>
                  <a:gd name="T17" fmla="*/ 34 h 68"/>
                  <a:gd name="T18" fmla="*/ 34 w 68"/>
                  <a:gd name="T1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8">
                    <a:moveTo>
                      <a:pt x="34" y="68"/>
                    </a:move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ubicBezTo>
                      <a:pt x="68" y="53"/>
                      <a:pt x="53" y="68"/>
                      <a:pt x="34" y="68"/>
                    </a:cubicBezTo>
                    <a:close/>
                    <a:moveTo>
                      <a:pt x="34" y="4"/>
                    </a:moveTo>
                    <a:cubicBezTo>
                      <a:pt x="17" y="4"/>
                      <a:pt x="4" y="17"/>
                      <a:pt x="4" y="34"/>
                    </a:cubicBezTo>
                    <a:cubicBezTo>
                      <a:pt x="4" y="51"/>
                      <a:pt x="17" y="64"/>
                      <a:pt x="34" y="64"/>
                    </a:cubicBezTo>
                    <a:cubicBezTo>
                      <a:pt x="51" y="64"/>
                      <a:pt x="64" y="51"/>
                      <a:pt x="64" y="34"/>
                    </a:cubicBezTo>
                    <a:cubicBezTo>
                      <a:pt x="64" y="17"/>
                      <a:pt x="51" y="4"/>
                      <a:pt x="34" y="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2" name="Freeform 80">
                <a:extLst>
                  <a:ext uri="{FF2B5EF4-FFF2-40B4-BE49-F238E27FC236}">
                    <a16:creationId xmlns:a16="http://schemas.microsoft.com/office/drawing/2014/main" id="{32E5F6D3-37C8-80FA-E05F-8F0428553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150" y="3699846"/>
                <a:ext cx="156923" cy="156923"/>
              </a:xfrm>
              <a:custGeom>
                <a:avLst/>
                <a:gdLst>
                  <a:gd name="T0" fmla="*/ 40 w 42"/>
                  <a:gd name="T1" fmla="*/ 42 h 42"/>
                  <a:gd name="T2" fmla="*/ 39 w 42"/>
                  <a:gd name="T3" fmla="*/ 41 h 42"/>
                  <a:gd name="T4" fmla="*/ 1 w 42"/>
                  <a:gd name="T5" fmla="*/ 4 h 42"/>
                  <a:gd name="T6" fmla="*/ 1 w 42"/>
                  <a:gd name="T7" fmla="*/ 1 h 42"/>
                  <a:gd name="T8" fmla="*/ 4 w 42"/>
                  <a:gd name="T9" fmla="*/ 1 h 42"/>
                  <a:gd name="T10" fmla="*/ 41 w 42"/>
                  <a:gd name="T11" fmla="*/ 39 h 42"/>
                  <a:gd name="T12" fmla="*/ 41 w 42"/>
                  <a:gd name="T13" fmla="*/ 41 h 42"/>
                  <a:gd name="T14" fmla="*/ 40 w 42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40" y="42"/>
                    </a:moveTo>
                    <a:cubicBezTo>
                      <a:pt x="39" y="42"/>
                      <a:pt x="39" y="42"/>
                      <a:pt x="39" y="4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41"/>
                      <a:pt x="41" y="41"/>
                    </a:cubicBezTo>
                    <a:cubicBezTo>
                      <a:pt x="41" y="42"/>
                      <a:pt x="41" y="42"/>
                      <a:pt x="40" y="42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CBC6FC4-DF17-7DA5-C91A-15AAF05F63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63220" y="5912291"/>
              <a:ext cx="211139" cy="262800"/>
              <a:chOff x="5653088" y="1797050"/>
              <a:chExt cx="298450" cy="371475"/>
            </a:xfrm>
            <a:solidFill>
              <a:sysClr val="window" lastClr="FFFFFF"/>
            </a:solidFill>
          </p:grpSpPr>
          <p:sp>
            <p:nvSpPr>
              <p:cNvPr id="29" name="Freeform 84">
                <a:extLst>
                  <a:ext uri="{FF2B5EF4-FFF2-40B4-BE49-F238E27FC236}">
                    <a16:creationId xmlns:a16="http://schemas.microsoft.com/office/drawing/2014/main" id="{12EEF9C9-37BF-066F-F275-989C3BF8B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2163" y="1982788"/>
                <a:ext cx="79375" cy="107950"/>
              </a:xfrm>
              <a:custGeom>
                <a:avLst/>
                <a:gdLst>
                  <a:gd name="T0" fmla="*/ 6 w 20"/>
                  <a:gd name="T1" fmla="*/ 28 h 28"/>
                  <a:gd name="T2" fmla="*/ 2 w 20"/>
                  <a:gd name="T3" fmla="*/ 28 h 28"/>
                  <a:gd name="T4" fmla="*/ 0 w 20"/>
                  <a:gd name="T5" fmla="*/ 26 h 28"/>
                  <a:gd name="T6" fmla="*/ 2 w 20"/>
                  <a:gd name="T7" fmla="*/ 24 h 28"/>
                  <a:gd name="T8" fmla="*/ 6 w 20"/>
                  <a:gd name="T9" fmla="*/ 24 h 28"/>
                  <a:gd name="T10" fmla="*/ 16 w 20"/>
                  <a:gd name="T11" fmla="*/ 14 h 28"/>
                  <a:gd name="T12" fmla="*/ 6 w 20"/>
                  <a:gd name="T13" fmla="*/ 4 h 28"/>
                  <a:gd name="T14" fmla="*/ 2 w 20"/>
                  <a:gd name="T15" fmla="*/ 4 h 28"/>
                  <a:gd name="T16" fmla="*/ 0 w 20"/>
                  <a:gd name="T17" fmla="*/ 2 h 28"/>
                  <a:gd name="T18" fmla="*/ 2 w 20"/>
                  <a:gd name="T19" fmla="*/ 0 h 28"/>
                  <a:gd name="T20" fmla="*/ 6 w 20"/>
                  <a:gd name="T21" fmla="*/ 0 h 28"/>
                  <a:gd name="T22" fmla="*/ 20 w 20"/>
                  <a:gd name="T23" fmla="*/ 14 h 28"/>
                  <a:gd name="T24" fmla="*/ 6 w 20"/>
                  <a:gd name="T2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28">
                    <a:moveTo>
                      <a:pt x="6" y="28"/>
                    </a:moveTo>
                    <a:cubicBezTo>
                      <a:pt x="2" y="28"/>
                      <a:pt x="2" y="28"/>
                      <a:pt x="2" y="28"/>
                    </a:cubicBezTo>
                    <a:cubicBezTo>
                      <a:pt x="1" y="28"/>
                      <a:pt x="0" y="27"/>
                      <a:pt x="0" y="26"/>
                    </a:cubicBezTo>
                    <a:cubicBezTo>
                      <a:pt x="0" y="25"/>
                      <a:pt x="1" y="24"/>
                      <a:pt x="2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12" y="24"/>
                      <a:pt x="16" y="20"/>
                      <a:pt x="16" y="14"/>
                    </a:cubicBezTo>
                    <a:cubicBezTo>
                      <a:pt x="16" y="8"/>
                      <a:pt x="12" y="4"/>
                      <a:pt x="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4" y="0"/>
                      <a:pt x="20" y="6"/>
                      <a:pt x="20" y="14"/>
                    </a:cubicBezTo>
                    <a:cubicBezTo>
                      <a:pt x="20" y="22"/>
                      <a:pt x="14" y="28"/>
                      <a:pt x="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0" name="Freeform 85">
                <a:extLst>
                  <a:ext uri="{FF2B5EF4-FFF2-40B4-BE49-F238E27FC236}">
                    <a16:creationId xmlns:a16="http://schemas.microsoft.com/office/drawing/2014/main" id="{0B08208F-D211-79B1-D956-8CAA7312B0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8963" y="1952625"/>
                <a:ext cx="219075" cy="215900"/>
              </a:xfrm>
              <a:custGeom>
                <a:avLst/>
                <a:gdLst>
                  <a:gd name="T0" fmla="*/ 46 w 56"/>
                  <a:gd name="T1" fmla="*/ 56 h 56"/>
                  <a:gd name="T2" fmla="*/ 10 w 56"/>
                  <a:gd name="T3" fmla="*/ 56 h 56"/>
                  <a:gd name="T4" fmla="*/ 0 w 56"/>
                  <a:gd name="T5" fmla="*/ 46 h 56"/>
                  <a:gd name="T6" fmla="*/ 0 w 56"/>
                  <a:gd name="T7" fmla="*/ 2 h 56"/>
                  <a:gd name="T8" fmla="*/ 2 w 56"/>
                  <a:gd name="T9" fmla="*/ 0 h 56"/>
                  <a:gd name="T10" fmla="*/ 54 w 56"/>
                  <a:gd name="T11" fmla="*/ 0 h 56"/>
                  <a:gd name="T12" fmla="*/ 56 w 56"/>
                  <a:gd name="T13" fmla="*/ 2 h 56"/>
                  <a:gd name="T14" fmla="*/ 56 w 56"/>
                  <a:gd name="T15" fmla="*/ 46 h 56"/>
                  <a:gd name="T16" fmla="*/ 46 w 56"/>
                  <a:gd name="T17" fmla="*/ 56 h 56"/>
                  <a:gd name="T18" fmla="*/ 4 w 56"/>
                  <a:gd name="T19" fmla="*/ 4 h 56"/>
                  <a:gd name="T20" fmla="*/ 4 w 56"/>
                  <a:gd name="T21" fmla="*/ 46 h 56"/>
                  <a:gd name="T22" fmla="*/ 10 w 56"/>
                  <a:gd name="T23" fmla="*/ 52 h 56"/>
                  <a:gd name="T24" fmla="*/ 46 w 56"/>
                  <a:gd name="T25" fmla="*/ 52 h 56"/>
                  <a:gd name="T26" fmla="*/ 52 w 56"/>
                  <a:gd name="T27" fmla="*/ 46 h 56"/>
                  <a:gd name="T28" fmla="*/ 52 w 56"/>
                  <a:gd name="T29" fmla="*/ 4 h 56"/>
                  <a:gd name="T30" fmla="*/ 4 w 56"/>
                  <a:gd name="T3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6" h="56">
                    <a:moveTo>
                      <a:pt x="46" y="56"/>
                    </a:moveTo>
                    <a:cubicBezTo>
                      <a:pt x="10" y="56"/>
                      <a:pt x="10" y="56"/>
                      <a:pt x="10" y="56"/>
                    </a:cubicBezTo>
                    <a:cubicBezTo>
                      <a:pt x="4" y="56"/>
                      <a:pt x="0" y="52"/>
                      <a:pt x="0" y="4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52"/>
                      <a:pt x="52" y="56"/>
                      <a:pt x="46" y="56"/>
                    </a:cubicBezTo>
                    <a:close/>
                    <a:moveTo>
                      <a:pt x="4" y="4"/>
                    </a:move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7" y="52"/>
                      <a:pt x="10" y="52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9" y="52"/>
                      <a:pt x="52" y="49"/>
                      <a:pt x="52" y="46"/>
                    </a:cubicBezTo>
                    <a:cubicBezTo>
                      <a:pt x="52" y="4"/>
                      <a:pt x="52" y="4"/>
                      <a:pt x="52" y="4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1" name="Freeform 86">
                <a:extLst>
                  <a:ext uri="{FF2B5EF4-FFF2-40B4-BE49-F238E27FC236}">
                    <a16:creationId xmlns:a16="http://schemas.microsoft.com/office/drawing/2014/main" id="{83343F23-28B0-F5A0-B521-14E5441378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3113" y="1797050"/>
                <a:ext cx="74612" cy="104775"/>
              </a:xfrm>
              <a:custGeom>
                <a:avLst/>
                <a:gdLst>
                  <a:gd name="T0" fmla="*/ 10 w 19"/>
                  <a:gd name="T1" fmla="*/ 27 h 27"/>
                  <a:gd name="T2" fmla="*/ 10 w 19"/>
                  <a:gd name="T3" fmla="*/ 27 h 27"/>
                  <a:gd name="T4" fmla="*/ 6 w 19"/>
                  <a:gd name="T5" fmla="*/ 26 h 27"/>
                  <a:gd name="T6" fmla="*/ 1 w 19"/>
                  <a:gd name="T7" fmla="*/ 21 h 27"/>
                  <a:gd name="T8" fmla="*/ 1 w 19"/>
                  <a:gd name="T9" fmla="*/ 15 h 27"/>
                  <a:gd name="T10" fmla="*/ 3 w 19"/>
                  <a:gd name="T11" fmla="*/ 11 h 27"/>
                  <a:gd name="T12" fmla="*/ 5 w 19"/>
                  <a:gd name="T13" fmla="*/ 3 h 27"/>
                  <a:gd name="T14" fmla="*/ 5 w 19"/>
                  <a:gd name="T15" fmla="*/ 1 h 27"/>
                  <a:gd name="T16" fmla="*/ 7 w 19"/>
                  <a:gd name="T17" fmla="*/ 0 h 27"/>
                  <a:gd name="T18" fmla="*/ 19 w 19"/>
                  <a:gd name="T19" fmla="*/ 17 h 27"/>
                  <a:gd name="T20" fmla="*/ 10 w 19"/>
                  <a:gd name="T21" fmla="*/ 27 h 27"/>
                  <a:gd name="T22" fmla="*/ 10 w 19"/>
                  <a:gd name="T23" fmla="*/ 6 h 27"/>
                  <a:gd name="T24" fmla="*/ 7 w 19"/>
                  <a:gd name="T25" fmla="*/ 14 h 27"/>
                  <a:gd name="T26" fmla="*/ 5 w 19"/>
                  <a:gd name="T27" fmla="*/ 16 h 27"/>
                  <a:gd name="T28" fmla="*/ 5 w 19"/>
                  <a:gd name="T29" fmla="*/ 20 h 27"/>
                  <a:gd name="T30" fmla="*/ 7 w 19"/>
                  <a:gd name="T31" fmla="*/ 22 h 27"/>
                  <a:gd name="T32" fmla="*/ 10 w 19"/>
                  <a:gd name="T33" fmla="*/ 23 h 27"/>
                  <a:gd name="T34" fmla="*/ 15 w 19"/>
                  <a:gd name="T35" fmla="*/ 17 h 27"/>
                  <a:gd name="T36" fmla="*/ 10 w 19"/>
                  <a:gd name="T3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27">
                    <a:moveTo>
                      <a:pt x="10" y="27"/>
                    </a:moveTo>
                    <a:cubicBezTo>
                      <a:pt x="10" y="27"/>
                      <a:pt x="10" y="27"/>
                      <a:pt x="10" y="27"/>
                    </a:cubicBezTo>
                    <a:cubicBezTo>
                      <a:pt x="9" y="27"/>
                      <a:pt x="7" y="26"/>
                      <a:pt x="6" y="26"/>
                    </a:cubicBezTo>
                    <a:cubicBezTo>
                      <a:pt x="4" y="25"/>
                      <a:pt x="2" y="23"/>
                      <a:pt x="1" y="21"/>
                    </a:cubicBezTo>
                    <a:cubicBezTo>
                      <a:pt x="0" y="19"/>
                      <a:pt x="0" y="17"/>
                      <a:pt x="1" y="15"/>
                    </a:cubicBezTo>
                    <a:cubicBezTo>
                      <a:pt x="2" y="13"/>
                      <a:pt x="3" y="12"/>
                      <a:pt x="3" y="11"/>
                    </a:cubicBezTo>
                    <a:cubicBezTo>
                      <a:pt x="6" y="8"/>
                      <a:pt x="7" y="7"/>
                      <a:pt x="5" y="3"/>
                    </a:cubicBezTo>
                    <a:cubicBezTo>
                      <a:pt x="4" y="3"/>
                      <a:pt x="4" y="2"/>
                      <a:pt x="5" y="1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16" y="3"/>
                      <a:pt x="19" y="11"/>
                      <a:pt x="19" y="17"/>
                    </a:cubicBezTo>
                    <a:cubicBezTo>
                      <a:pt x="18" y="23"/>
                      <a:pt x="14" y="27"/>
                      <a:pt x="10" y="27"/>
                    </a:cubicBezTo>
                    <a:close/>
                    <a:moveTo>
                      <a:pt x="10" y="6"/>
                    </a:moveTo>
                    <a:cubicBezTo>
                      <a:pt x="10" y="9"/>
                      <a:pt x="8" y="12"/>
                      <a:pt x="7" y="14"/>
                    </a:cubicBezTo>
                    <a:cubicBezTo>
                      <a:pt x="6" y="15"/>
                      <a:pt x="5" y="15"/>
                      <a:pt x="5" y="16"/>
                    </a:cubicBezTo>
                    <a:cubicBezTo>
                      <a:pt x="4" y="17"/>
                      <a:pt x="4" y="19"/>
                      <a:pt x="5" y="20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8" y="22"/>
                      <a:pt x="9" y="23"/>
                      <a:pt x="10" y="23"/>
                    </a:cubicBezTo>
                    <a:cubicBezTo>
                      <a:pt x="13" y="23"/>
                      <a:pt x="14" y="19"/>
                      <a:pt x="15" y="17"/>
                    </a:cubicBezTo>
                    <a:cubicBezTo>
                      <a:pt x="15" y="13"/>
                      <a:pt x="14" y="8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2" name="Freeform 87">
                <a:extLst>
                  <a:ext uri="{FF2B5EF4-FFF2-40B4-BE49-F238E27FC236}">
                    <a16:creationId xmlns:a16="http://schemas.microsoft.com/office/drawing/2014/main" id="{41F3DDF0-3EE5-3FEA-36DD-D18BD5A78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25" y="1878013"/>
                <a:ext cx="58737" cy="88900"/>
              </a:xfrm>
              <a:custGeom>
                <a:avLst/>
                <a:gdLst>
                  <a:gd name="T0" fmla="*/ 2 w 15"/>
                  <a:gd name="T1" fmla="*/ 23 h 23"/>
                  <a:gd name="T2" fmla="*/ 1 w 15"/>
                  <a:gd name="T3" fmla="*/ 23 h 23"/>
                  <a:gd name="T4" fmla="*/ 0 w 15"/>
                  <a:gd name="T5" fmla="*/ 20 h 23"/>
                  <a:gd name="T6" fmla="*/ 11 w 15"/>
                  <a:gd name="T7" fmla="*/ 1 h 23"/>
                  <a:gd name="T8" fmla="*/ 13 w 15"/>
                  <a:gd name="T9" fmla="*/ 1 h 23"/>
                  <a:gd name="T10" fmla="*/ 14 w 15"/>
                  <a:gd name="T11" fmla="*/ 3 h 23"/>
                  <a:gd name="T12" fmla="*/ 4 w 15"/>
                  <a:gd name="T13" fmla="*/ 22 h 23"/>
                  <a:gd name="T14" fmla="*/ 2 w 15"/>
                  <a:gd name="T1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1"/>
                      <a:pt x="0" y="2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4" y="1"/>
                      <a:pt x="15" y="2"/>
                      <a:pt x="14" y="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3"/>
                      <a:pt x="3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3" name="Freeform 88">
                <a:extLst>
                  <a:ext uri="{FF2B5EF4-FFF2-40B4-BE49-F238E27FC236}">
                    <a16:creationId xmlns:a16="http://schemas.microsoft.com/office/drawing/2014/main" id="{08FD6BF2-01B9-8691-1373-7A210F6A8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288" y="1882775"/>
                <a:ext cx="44450" cy="84138"/>
              </a:xfrm>
              <a:custGeom>
                <a:avLst/>
                <a:gdLst>
                  <a:gd name="T0" fmla="*/ 2 w 11"/>
                  <a:gd name="T1" fmla="*/ 22 h 22"/>
                  <a:gd name="T2" fmla="*/ 1 w 11"/>
                  <a:gd name="T3" fmla="*/ 22 h 22"/>
                  <a:gd name="T4" fmla="*/ 0 w 11"/>
                  <a:gd name="T5" fmla="*/ 19 h 22"/>
                  <a:gd name="T6" fmla="*/ 7 w 11"/>
                  <a:gd name="T7" fmla="*/ 2 h 22"/>
                  <a:gd name="T8" fmla="*/ 9 w 11"/>
                  <a:gd name="T9" fmla="*/ 1 h 22"/>
                  <a:gd name="T10" fmla="*/ 10 w 11"/>
                  <a:gd name="T11" fmla="*/ 3 h 22"/>
                  <a:gd name="T12" fmla="*/ 4 w 11"/>
                  <a:gd name="T13" fmla="*/ 21 h 22"/>
                  <a:gd name="T14" fmla="*/ 2 w 1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2">
                    <a:moveTo>
                      <a:pt x="2" y="22"/>
                    </a:moveTo>
                    <a:cubicBezTo>
                      <a:pt x="2" y="22"/>
                      <a:pt x="2" y="22"/>
                      <a:pt x="1" y="22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8" y="0"/>
                      <a:pt x="9" y="1"/>
                    </a:cubicBezTo>
                    <a:cubicBezTo>
                      <a:pt x="10" y="1"/>
                      <a:pt x="11" y="2"/>
                      <a:pt x="10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2"/>
                      <a:pt x="3" y="22"/>
                      <a:pt x="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4" name="Freeform 89">
                <a:extLst>
                  <a:ext uri="{FF2B5EF4-FFF2-40B4-BE49-F238E27FC236}">
                    <a16:creationId xmlns:a16="http://schemas.microsoft.com/office/drawing/2014/main" id="{13101B33-2AA6-848E-FCFA-B1A664BD7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088" y="1858963"/>
                <a:ext cx="93662" cy="107950"/>
              </a:xfrm>
              <a:custGeom>
                <a:avLst/>
                <a:gdLst>
                  <a:gd name="T0" fmla="*/ 22 w 24"/>
                  <a:gd name="T1" fmla="*/ 28 h 28"/>
                  <a:gd name="T2" fmla="*/ 22 w 24"/>
                  <a:gd name="T3" fmla="*/ 28 h 28"/>
                  <a:gd name="T4" fmla="*/ 10 w 24"/>
                  <a:gd name="T5" fmla="*/ 28 h 28"/>
                  <a:gd name="T6" fmla="*/ 8 w 24"/>
                  <a:gd name="T7" fmla="*/ 27 h 28"/>
                  <a:gd name="T8" fmla="*/ 2 w 24"/>
                  <a:gd name="T9" fmla="*/ 15 h 28"/>
                  <a:gd name="T10" fmla="*/ 2 w 24"/>
                  <a:gd name="T11" fmla="*/ 14 h 28"/>
                  <a:gd name="T12" fmla="*/ 0 w 24"/>
                  <a:gd name="T13" fmla="*/ 2 h 28"/>
                  <a:gd name="T14" fmla="*/ 1 w 24"/>
                  <a:gd name="T15" fmla="*/ 0 h 28"/>
                  <a:gd name="T16" fmla="*/ 3 w 24"/>
                  <a:gd name="T17" fmla="*/ 0 h 28"/>
                  <a:gd name="T18" fmla="*/ 13 w 24"/>
                  <a:gd name="T19" fmla="*/ 6 h 28"/>
                  <a:gd name="T20" fmla="*/ 14 w 24"/>
                  <a:gd name="T21" fmla="*/ 7 h 28"/>
                  <a:gd name="T22" fmla="*/ 24 w 24"/>
                  <a:gd name="T23" fmla="*/ 25 h 28"/>
                  <a:gd name="T24" fmla="*/ 24 w 24"/>
                  <a:gd name="T25" fmla="*/ 26 h 28"/>
                  <a:gd name="T26" fmla="*/ 22 w 24"/>
                  <a:gd name="T27" fmla="*/ 28 h 28"/>
                  <a:gd name="T28" fmla="*/ 11 w 24"/>
                  <a:gd name="T29" fmla="*/ 24 h 28"/>
                  <a:gd name="T30" fmla="*/ 19 w 24"/>
                  <a:gd name="T31" fmla="*/ 24 h 28"/>
                  <a:gd name="T32" fmla="*/ 11 w 24"/>
                  <a:gd name="T33" fmla="*/ 9 h 28"/>
                  <a:gd name="T34" fmla="*/ 5 w 24"/>
                  <a:gd name="T35" fmla="*/ 6 h 28"/>
                  <a:gd name="T36" fmla="*/ 6 w 24"/>
                  <a:gd name="T37" fmla="*/ 13 h 28"/>
                  <a:gd name="T38" fmla="*/ 11 w 24"/>
                  <a:gd name="T39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8">
                    <a:moveTo>
                      <a:pt x="22" y="28"/>
                    </a:moveTo>
                    <a:cubicBezTo>
                      <a:pt x="22" y="28"/>
                      <a:pt x="22" y="28"/>
                      <a:pt x="22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2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4" y="7"/>
                      <a:pt x="14" y="7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7"/>
                      <a:pt x="23" y="28"/>
                      <a:pt x="22" y="28"/>
                    </a:cubicBezTo>
                    <a:close/>
                    <a:moveTo>
                      <a:pt x="11" y="24"/>
                    </a:moveTo>
                    <a:cubicBezTo>
                      <a:pt x="19" y="24"/>
                      <a:pt x="19" y="24"/>
                      <a:pt x="19" y="24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13"/>
                      <a:pt x="6" y="13"/>
                      <a:pt x="6" y="13"/>
                    </a:cubicBezTo>
                    <a:lnTo>
                      <a:pt x="11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5" name="Freeform 90">
                <a:extLst>
                  <a:ext uri="{FF2B5EF4-FFF2-40B4-BE49-F238E27FC236}">
                    <a16:creationId xmlns:a16="http://schemas.microsoft.com/office/drawing/2014/main" id="{E2D4623E-5C19-3685-1C12-479D0E59A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1025" y="1882775"/>
                <a:ext cx="47625" cy="38100"/>
              </a:xfrm>
              <a:custGeom>
                <a:avLst/>
                <a:gdLst>
                  <a:gd name="T0" fmla="*/ 2 w 12"/>
                  <a:gd name="T1" fmla="*/ 10 h 10"/>
                  <a:gd name="T2" fmla="*/ 0 w 12"/>
                  <a:gd name="T3" fmla="*/ 9 h 10"/>
                  <a:gd name="T4" fmla="*/ 1 w 12"/>
                  <a:gd name="T5" fmla="*/ 6 h 10"/>
                  <a:gd name="T6" fmla="*/ 9 w 12"/>
                  <a:gd name="T7" fmla="*/ 0 h 10"/>
                  <a:gd name="T8" fmla="*/ 12 w 12"/>
                  <a:gd name="T9" fmla="*/ 1 h 10"/>
                  <a:gd name="T10" fmla="*/ 11 w 12"/>
                  <a:gd name="T11" fmla="*/ 4 h 10"/>
                  <a:gd name="T12" fmla="*/ 3 w 12"/>
                  <a:gd name="T13" fmla="*/ 10 h 10"/>
                  <a:gd name="T14" fmla="*/ 2 w 12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">
                    <a:moveTo>
                      <a:pt x="2" y="10"/>
                    </a:moveTo>
                    <a:cubicBezTo>
                      <a:pt x="1" y="10"/>
                      <a:pt x="1" y="10"/>
                      <a:pt x="0" y="9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12" y="2"/>
                      <a:pt x="12" y="3"/>
                      <a:pt x="11" y="4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2" y="10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6" name="Freeform 91">
                <a:extLst>
                  <a:ext uri="{FF2B5EF4-FFF2-40B4-BE49-F238E27FC236}">
                    <a16:creationId xmlns:a16="http://schemas.microsoft.com/office/drawing/2014/main" id="{22F855AB-1013-11E6-106F-C4F03C24AD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6750" y="1797050"/>
                <a:ext cx="79375" cy="169863"/>
              </a:xfrm>
              <a:custGeom>
                <a:avLst/>
                <a:gdLst>
                  <a:gd name="T0" fmla="*/ 18 w 20"/>
                  <a:gd name="T1" fmla="*/ 44 h 44"/>
                  <a:gd name="T2" fmla="*/ 2 w 20"/>
                  <a:gd name="T3" fmla="*/ 44 h 44"/>
                  <a:gd name="T4" fmla="*/ 0 w 20"/>
                  <a:gd name="T5" fmla="*/ 42 h 44"/>
                  <a:gd name="T6" fmla="*/ 0 w 20"/>
                  <a:gd name="T7" fmla="*/ 2 h 44"/>
                  <a:gd name="T8" fmla="*/ 2 w 20"/>
                  <a:gd name="T9" fmla="*/ 0 h 44"/>
                  <a:gd name="T10" fmla="*/ 18 w 20"/>
                  <a:gd name="T11" fmla="*/ 0 h 44"/>
                  <a:gd name="T12" fmla="*/ 20 w 20"/>
                  <a:gd name="T13" fmla="*/ 2 h 44"/>
                  <a:gd name="T14" fmla="*/ 20 w 20"/>
                  <a:gd name="T15" fmla="*/ 42 h 44"/>
                  <a:gd name="T16" fmla="*/ 18 w 20"/>
                  <a:gd name="T17" fmla="*/ 44 h 44"/>
                  <a:gd name="T18" fmla="*/ 4 w 20"/>
                  <a:gd name="T19" fmla="*/ 40 h 44"/>
                  <a:gd name="T20" fmla="*/ 16 w 20"/>
                  <a:gd name="T21" fmla="*/ 40 h 44"/>
                  <a:gd name="T22" fmla="*/ 16 w 20"/>
                  <a:gd name="T23" fmla="*/ 4 h 44"/>
                  <a:gd name="T24" fmla="*/ 4 w 20"/>
                  <a:gd name="T25" fmla="*/ 4 h 44"/>
                  <a:gd name="T26" fmla="*/ 4 w 20"/>
                  <a:gd name="T27" fmla="*/ 4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44">
                    <a:moveTo>
                      <a:pt x="18" y="44"/>
                    </a:move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3"/>
                      <a:pt x="19" y="44"/>
                      <a:pt x="18" y="44"/>
                    </a:cubicBezTo>
                    <a:close/>
                    <a:moveTo>
                      <a:pt x="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7" name="Freeform 92">
                <a:extLst>
                  <a:ext uri="{FF2B5EF4-FFF2-40B4-BE49-F238E27FC236}">
                    <a16:creationId xmlns:a16="http://schemas.microsoft.com/office/drawing/2014/main" id="{D0C9C857-31AF-BFCF-70E2-AC7D54F5C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1828800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8" name="Freeform 93">
                <a:extLst>
                  <a:ext uri="{FF2B5EF4-FFF2-40B4-BE49-F238E27FC236}">
                    <a16:creationId xmlns:a16="http://schemas.microsoft.com/office/drawing/2014/main" id="{524BC1FB-3846-3DB0-5976-D72A4E502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4375" y="1858963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9" name="Freeform 94">
                <a:extLst>
                  <a:ext uri="{FF2B5EF4-FFF2-40B4-BE49-F238E27FC236}">
                    <a16:creationId xmlns:a16="http://schemas.microsoft.com/office/drawing/2014/main" id="{A0F7815C-3C06-C7C4-9EA5-EF7440E42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1890713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0" name="Freeform 95">
                <a:extLst>
                  <a:ext uri="{FF2B5EF4-FFF2-40B4-BE49-F238E27FC236}">
                    <a16:creationId xmlns:a16="http://schemas.microsoft.com/office/drawing/2014/main" id="{CD4D5EEE-24EE-5B85-274E-8C68FDB75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4375" y="19208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46D18F2-905D-7AA2-8769-6A0E271C2B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43426" y="5786928"/>
              <a:ext cx="252001" cy="252000"/>
              <a:chOff x="2182813" y="2376488"/>
              <a:chExt cx="371476" cy="371475"/>
            </a:xfrm>
            <a:solidFill>
              <a:sysClr val="window" lastClr="FFFFFF"/>
            </a:solidFill>
          </p:grpSpPr>
          <p:sp>
            <p:nvSpPr>
              <p:cNvPr id="27" name="Freeform 101">
                <a:extLst>
                  <a:ext uri="{FF2B5EF4-FFF2-40B4-BE49-F238E27FC236}">
                    <a16:creationId xmlns:a16="http://schemas.microsoft.com/office/drawing/2014/main" id="{036ACD2C-5B4A-BEDE-488E-907C39F08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2813" y="2376488"/>
                <a:ext cx="371475" cy="371475"/>
              </a:xfrm>
              <a:custGeom>
                <a:avLst/>
                <a:gdLst>
                  <a:gd name="T0" fmla="*/ 42 w 96"/>
                  <a:gd name="T1" fmla="*/ 96 h 96"/>
                  <a:gd name="T2" fmla="*/ 40 w 96"/>
                  <a:gd name="T3" fmla="*/ 83 h 96"/>
                  <a:gd name="T4" fmla="*/ 23 w 96"/>
                  <a:gd name="T5" fmla="*/ 88 h 96"/>
                  <a:gd name="T6" fmla="*/ 8 w 96"/>
                  <a:gd name="T7" fmla="*/ 76 h 96"/>
                  <a:gd name="T8" fmla="*/ 8 w 96"/>
                  <a:gd name="T9" fmla="*/ 73 h 96"/>
                  <a:gd name="T10" fmla="*/ 13 w 96"/>
                  <a:gd name="T11" fmla="*/ 56 h 96"/>
                  <a:gd name="T12" fmla="*/ 0 w 96"/>
                  <a:gd name="T13" fmla="*/ 54 h 96"/>
                  <a:gd name="T14" fmla="*/ 2 w 96"/>
                  <a:gd name="T15" fmla="*/ 40 h 96"/>
                  <a:gd name="T16" fmla="*/ 17 w 96"/>
                  <a:gd name="T17" fmla="*/ 31 h 96"/>
                  <a:gd name="T18" fmla="*/ 8 w 96"/>
                  <a:gd name="T19" fmla="*/ 21 h 96"/>
                  <a:gd name="T20" fmla="*/ 20 w 96"/>
                  <a:gd name="T21" fmla="*/ 8 h 96"/>
                  <a:gd name="T22" fmla="*/ 31 w 96"/>
                  <a:gd name="T23" fmla="*/ 17 h 96"/>
                  <a:gd name="T24" fmla="*/ 40 w 96"/>
                  <a:gd name="T25" fmla="*/ 2 h 96"/>
                  <a:gd name="T26" fmla="*/ 54 w 96"/>
                  <a:gd name="T27" fmla="*/ 0 h 96"/>
                  <a:gd name="T28" fmla="*/ 56 w 96"/>
                  <a:gd name="T29" fmla="*/ 13 h 96"/>
                  <a:gd name="T30" fmla="*/ 67 w 96"/>
                  <a:gd name="T31" fmla="*/ 20 h 96"/>
                  <a:gd name="T32" fmla="*/ 54 w 96"/>
                  <a:gd name="T33" fmla="*/ 17 h 96"/>
                  <a:gd name="T34" fmla="*/ 52 w 96"/>
                  <a:gd name="T35" fmla="*/ 4 h 96"/>
                  <a:gd name="T36" fmla="*/ 44 w 96"/>
                  <a:gd name="T37" fmla="*/ 15 h 96"/>
                  <a:gd name="T38" fmla="*/ 31 w 96"/>
                  <a:gd name="T39" fmla="*/ 21 h 96"/>
                  <a:gd name="T40" fmla="*/ 21 w 96"/>
                  <a:gd name="T41" fmla="*/ 13 h 96"/>
                  <a:gd name="T42" fmla="*/ 20 w 96"/>
                  <a:gd name="T43" fmla="*/ 29 h 96"/>
                  <a:gd name="T44" fmla="*/ 17 w 96"/>
                  <a:gd name="T45" fmla="*/ 42 h 96"/>
                  <a:gd name="T46" fmla="*/ 4 w 96"/>
                  <a:gd name="T47" fmla="*/ 44 h 96"/>
                  <a:gd name="T48" fmla="*/ 15 w 96"/>
                  <a:gd name="T49" fmla="*/ 52 h 96"/>
                  <a:gd name="T50" fmla="*/ 21 w 96"/>
                  <a:gd name="T51" fmla="*/ 65 h 96"/>
                  <a:gd name="T52" fmla="*/ 13 w 96"/>
                  <a:gd name="T53" fmla="*/ 75 h 96"/>
                  <a:gd name="T54" fmla="*/ 29 w 96"/>
                  <a:gd name="T55" fmla="*/ 76 h 96"/>
                  <a:gd name="T56" fmla="*/ 42 w 96"/>
                  <a:gd name="T57" fmla="*/ 79 h 96"/>
                  <a:gd name="T58" fmla="*/ 44 w 96"/>
                  <a:gd name="T59" fmla="*/ 92 h 96"/>
                  <a:gd name="T60" fmla="*/ 52 w 96"/>
                  <a:gd name="T61" fmla="*/ 81 h 96"/>
                  <a:gd name="T62" fmla="*/ 65 w 96"/>
                  <a:gd name="T63" fmla="*/ 75 h 96"/>
                  <a:gd name="T64" fmla="*/ 75 w 96"/>
                  <a:gd name="T65" fmla="*/ 83 h 96"/>
                  <a:gd name="T66" fmla="*/ 76 w 96"/>
                  <a:gd name="T67" fmla="*/ 67 h 96"/>
                  <a:gd name="T68" fmla="*/ 79 w 96"/>
                  <a:gd name="T69" fmla="*/ 54 h 96"/>
                  <a:gd name="T70" fmla="*/ 92 w 96"/>
                  <a:gd name="T71" fmla="*/ 52 h 96"/>
                  <a:gd name="T72" fmla="*/ 81 w 96"/>
                  <a:gd name="T73" fmla="*/ 44 h 96"/>
                  <a:gd name="T74" fmla="*/ 77 w 96"/>
                  <a:gd name="T75" fmla="*/ 36 h 96"/>
                  <a:gd name="T76" fmla="*/ 81 w 96"/>
                  <a:gd name="T77" fmla="*/ 34 h 96"/>
                  <a:gd name="T78" fmla="*/ 94 w 96"/>
                  <a:gd name="T79" fmla="*/ 40 h 96"/>
                  <a:gd name="T80" fmla="*/ 96 w 96"/>
                  <a:gd name="T81" fmla="*/ 54 h 96"/>
                  <a:gd name="T82" fmla="*/ 83 w 96"/>
                  <a:gd name="T83" fmla="*/ 56 h 96"/>
                  <a:gd name="T84" fmla="*/ 88 w 96"/>
                  <a:gd name="T85" fmla="*/ 73 h 96"/>
                  <a:gd name="T86" fmla="*/ 76 w 96"/>
                  <a:gd name="T87" fmla="*/ 88 h 96"/>
                  <a:gd name="T88" fmla="*/ 65 w 96"/>
                  <a:gd name="T89" fmla="*/ 79 h 96"/>
                  <a:gd name="T90" fmla="*/ 56 w 96"/>
                  <a:gd name="T91" fmla="*/ 9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6" h="96">
                    <a:moveTo>
                      <a:pt x="54" y="96"/>
                    </a:move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6"/>
                      <a:pt x="40" y="95"/>
                      <a:pt x="40" y="94"/>
                    </a:cubicBezTo>
                    <a:cubicBezTo>
                      <a:pt x="40" y="83"/>
                      <a:pt x="40" y="83"/>
                      <a:pt x="40" y="83"/>
                    </a:cubicBezTo>
                    <a:cubicBezTo>
                      <a:pt x="37" y="82"/>
                      <a:pt x="33" y="81"/>
                      <a:pt x="31" y="79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60" y="14"/>
                      <a:pt x="64" y="16"/>
                      <a:pt x="67" y="17"/>
                    </a:cubicBezTo>
                    <a:cubicBezTo>
                      <a:pt x="68" y="18"/>
                      <a:pt x="68" y="19"/>
                      <a:pt x="67" y="20"/>
                    </a:cubicBezTo>
                    <a:cubicBezTo>
                      <a:pt x="67" y="21"/>
                      <a:pt x="66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1" y="75"/>
                    </a:cubicBezTo>
                    <a:cubicBezTo>
                      <a:pt x="34" y="77"/>
                      <a:pt x="40" y="79"/>
                      <a:pt x="42" y="79"/>
                    </a:cubicBezTo>
                    <a:cubicBezTo>
                      <a:pt x="43" y="79"/>
                      <a:pt x="44" y="80"/>
                      <a:pt x="44" y="81"/>
                    </a:cubicBezTo>
                    <a:cubicBezTo>
                      <a:pt x="44" y="92"/>
                      <a:pt x="44" y="92"/>
                      <a:pt x="44" y="92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2" y="80"/>
                      <a:pt x="53" y="79"/>
                      <a:pt x="54" y="79"/>
                    </a:cubicBezTo>
                    <a:cubicBezTo>
                      <a:pt x="56" y="79"/>
                      <a:pt x="62" y="77"/>
                      <a:pt x="65" y="75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1"/>
                      <a:pt x="78" y="38"/>
                      <a:pt x="77" y="36"/>
                    </a:cubicBezTo>
                    <a:cubicBezTo>
                      <a:pt x="77" y="35"/>
                      <a:pt x="77" y="33"/>
                      <a:pt x="78" y="33"/>
                    </a:cubicBezTo>
                    <a:cubicBezTo>
                      <a:pt x="79" y="33"/>
                      <a:pt x="81" y="33"/>
                      <a:pt x="81" y="34"/>
                    </a:cubicBezTo>
                    <a:cubicBezTo>
                      <a:pt x="82" y="36"/>
                      <a:pt x="82" y="38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3" y="81"/>
                      <a:pt x="59" y="82"/>
                      <a:pt x="56" y="83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95"/>
                      <a:pt x="55" y="96"/>
                      <a:pt x="54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8" name="Freeform 102">
                <a:extLst>
                  <a:ext uri="{FF2B5EF4-FFF2-40B4-BE49-F238E27FC236}">
                    <a16:creationId xmlns:a16="http://schemas.microsoft.com/office/drawing/2014/main" id="{27EB0181-385C-8DD4-AD9D-B4D15A8DB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8701" y="2376488"/>
                <a:ext cx="255588" cy="231775"/>
              </a:xfrm>
              <a:custGeom>
                <a:avLst/>
                <a:gdLst>
                  <a:gd name="T0" fmla="*/ 18 w 66"/>
                  <a:gd name="T1" fmla="*/ 60 h 60"/>
                  <a:gd name="T2" fmla="*/ 17 w 66"/>
                  <a:gd name="T3" fmla="*/ 59 h 60"/>
                  <a:gd name="T4" fmla="*/ 1 w 66"/>
                  <a:gd name="T5" fmla="*/ 41 h 60"/>
                  <a:gd name="T6" fmla="*/ 1 w 66"/>
                  <a:gd name="T7" fmla="*/ 39 h 60"/>
                  <a:gd name="T8" fmla="*/ 3 w 66"/>
                  <a:gd name="T9" fmla="*/ 39 h 60"/>
                  <a:gd name="T10" fmla="*/ 18 w 66"/>
                  <a:gd name="T11" fmla="*/ 55 h 60"/>
                  <a:gd name="T12" fmla="*/ 62 w 66"/>
                  <a:gd name="T13" fmla="*/ 1 h 60"/>
                  <a:gd name="T14" fmla="*/ 65 w 66"/>
                  <a:gd name="T15" fmla="*/ 0 h 60"/>
                  <a:gd name="T16" fmla="*/ 66 w 66"/>
                  <a:gd name="T17" fmla="*/ 3 h 60"/>
                  <a:gd name="T18" fmla="*/ 20 w 66"/>
                  <a:gd name="T19" fmla="*/ 59 h 60"/>
                  <a:gd name="T20" fmla="*/ 18 w 66"/>
                  <a:gd name="T21" fmla="*/ 60 h 60"/>
                  <a:gd name="T22" fmla="*/ 18 w 66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60">
                    <a:moveTo>
                      <a:pt x="18" y="60"/>
                    </a:moveTo>
                    <a:cubicBezTo>
                      <a:pt x="17" y="60"/>
                      <a:pt x="17" y="60"/>
                      <a:pt x="17" y="59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1"/>
                      <a:pt x="0" y="39"/>
                      <a:pt x="1" y="39"/>
                    </a:cubicBezTo>
                    <a:cubicBezTo>
                      <a:pt x="1" y="38"/>
                      <a:pt x="3" y="38"/>
                      <a:pt x="3" y="39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5" y="0"/>
                    </a:cubicBezTo>
                    <a:cubicBezTo>
                      <a:pt x="66" y="1"/>
                      <a:pt x="66" y="2"/>
                      <a:pt x="66" y="3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19" y="60"/>
                      <a:pt x="19" y="60"/>
                      <a:pt x="18" y="60"/>
                    </a:cubicBezTo>
                    <a:cubicBezTo>
                      <a:pt x="18" y="60"/>
                      <a:pt x="18" y="60"/>
                      <a:pt x="1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47E7C6B-A162-73D1-70F2-435790B3C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646F62F-544B-B2E9-162E-63B379F459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640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9">
            <a:extLst>
              <a:ext uri="{FF2B5EF4-FFF2-40B4-BE49-F238E27FC236}">
                <a16:creationId xmlns:a16="http://schemas.microsoft.com/office/drawing/2014/main" id="{D26803A4-7BED-1A32-78A0-6E04760C5E3E}"/>
              </a:ext>
            </a:extLst>
          </p:cNvPr>
          <p:cNvSpPr txBox="1">
            <a:spLocks/>
          </p:cNvSpPr>
          <p:nvPr/>
        </p:nvSpPr>
        <p:spPr>
          <a:xfrm>
            <a:off x="3107788" y="360971"/>
            <a:ext cx="5976424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hancing our Offerings </a:t>
            </a:r>
          </a:p>
        </p:txBody>
      </p:sp>
      <p:sp>
        <p:nvSpPr>
          <p:cNvPr id="6" name="Freeform 14">
            <a:extLst>
              <a:ext uri="{FF2B5EF4-FFF2-40B4-BE49-F238E27FC236}">
                <a16:creationId xmlns:a16="http://schemas.microsoft.com/office/drawing/2014/main" id="{FAD1C8B1-AB6B-F1EE-0F47-8494C488CECC}"/>
              </a:ext>
            </a:extLst>
          </p:cNvPr>
          <p:cNvSpPr>
            <a:spLocks/>
          </p:cNvSpPr>
          <p:nvPr/>
        </p:nvSpPr>
        <p:spPr bwMode="auto">
          <a:xfrm>
            <a:off x="8065046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8E4873BE-4BCA-D842-3896-BAE3CC50FAE1}"/>
              </a:ext>
            </a:extLst>
          </p:cNvPr>
          <p:cNvSpPr>
            <a:spLocks/>
          </p:cNvSpPr>
          <p:nvPr/>
        </p:nvSpPr>
        <p:spPr bwMode="auto">
          <a:xfrm>
            <a:off x="6325148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Freeform 12">
            <a:extLst>
              <a:ext uri="{FF2B5EF4-FFF2-40B4-BE49-F238E27FC236}">
                <a16:creationId xmlns:a16="http://schemas.microsoft.com/office/drawing/2014/main" id="{541CED9A-BAF6-B144-7052-7613A3FA0E57}"/>
              </a:ext>
            </a:extLst>
          </p:cNvPr>
          <p:cNvSpPr>
            <a:spLocks/>
          </p:cNvSpPr>
          <p:nvPr/>
        </p:nvSpPr>
        <p:spPr bwMode="auto">
          <a:xfrm>
            <a:off x="4583897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981B1FD6-B47D-F1D5-4F6B-2E0C18F80355}"/>
              </a:ext>
            </a:extLst>
          </p:cNvPr>
          <p:cNvSpPr>
            <a:spLocks/>
          </p:cNvSpPr>
          <p:nvPr/>
        </p:nvSpPr>
        <p:spPr bwMode="auto">
          <a:xfrm>
            <a:off x="2844000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5EFA8417-0948-043A-3EFB-C500760C5EF9}"/>
              </a:ext>
            </a:extLst>
          </p:cNvPr>
          <p:cNvSpPr>
            <a:spLocks/>
          </p:cNvSpPr>
          <p:nvPr/>
        </p:nvSpPr>
        <p:spPr bwMode="auto">
          <a:xfrm>
            <a:off x="1102749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0C1829EA-ED63-79A8-D8CF-9C6953FCAFB5}"/>
              </a:ext>
            </a:extLst>
          </p:cNvPr>
          <p:cNvSpPr>
            <a:spLocks/>
          </p:cNvSpPr>
          <p:nvPr/>
        </p:nvSpPr>
        <p:spPr bwMode="auto">
          <a:xfrm>
            <a:off x="1492097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C8D3ED2A-801C-60A7-F1D4-871C47E80562}"/>
              </a:ext>
            </a:extLst>
          </p:cNvPr>
          <p:cNvSpPr>
            <a:spLocks/>
          </p:cNvSpPr>
          <p:nvPr/>
        </p:nvSpPr>
        <p:spPr bwMode="auto">
          <a:xfrm>
            <a:off x="3234699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44BC1C1E-17B7-9F06-9B17-ECF958EFB503}"/>
              </a:ext>
            </a:extLst>
          </p:cNvPr>
          <p:cNvSpPr>
            <a:spLocks/>
          </p:cNvSpPr>
          <p:nvPr/>
        </p:nvSpPr>
        <p:spPr bwMode="auto">
          <a:xfrm>
            <a:off x="6715848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1DF5F29-E489-FA8E-BB5B-FC31982DDF68}"/>
              </a:ext>
            </a:extLst>
          </p:cNvPr>
          <p:cNvSpPr>
            <a:spLocks/>
          </p:cNvSpPr>
          <p:nvPr/>
        </p:nvSpPr>
        <p:spPr bwMode="auto">
          <a:xfrm>
            <a:off x="4973245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839BE186-443A-22EF-7693-595C078F4DBE}"/>
              </a:ext>
            </a:extLst>
          </p:cNvPr>
          <p:cNvSpPr>
            <a:spLocks/>
          </p:cNvSpPr>
          <p:nvPr/>
        </p:nvSpPr>
        <p:spPr bwMode="auto">
          <a:xfrm>
            <a:off x="8454394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07565DE1-A690-E4AD-AD18-F4E13CC31DA5}"/>
              </a:ext>
            </a:extLst>
          </p:cNvPr>
          <p:cNvSpPr>
            <a:spLocks/>
          </p:cNvSpPr>
          <p:nvPr/>
        </p:nvSpPr>
        <p:spPr bwMode="auto">
          <a:xfrm>
            <a:off x="3307702" y="2782044"/>
            <a:ext cx="2077873" cy="1355958"/>
          </a:xfrm>
          <a:custGeom>
            <a:avLst/>
            <a:gdLst>
              <a:gd name="T0" fmla="*/ 327 w 650"/>
              <a:gd name="T1" fmla="*/ 0 h 423"/>
              <a:gd name="T2" fmla="*/ 180 w 650"/>
              <a:gd name="T3" fmla="*/ 83 h 423"/>
              <a:gd name="T4" fmla="*/ 0 w 650"/>
              <a:gd name="T5" fmla="*/ 356 h 423"/>
              <a:gd name="T6" fmla="*/ 105 w 650"/>
              <a:gd name="T7" fmla="*/ 423 h 423"/>
              <a:gd name="T8" fmla="*/ 186 w 650"/>
              <a:gd name="T9" fmla="*/ 300 h 423"/>
              <a:gd name="T10" fmla="*/ 284 w 650"/>
              <a:gd name="T11" fmla="*/ 152 h 423"/>
              <a:gd name="T12" fmla="*/ 371 w 650"/>
              <a:gd name="T13" fmla="*/ 152 h 423"/>
              <a:gd name="T14" fmla="*/ 469 w 650"/>
              <a:gd name="T15" fmla="*/ 300 h 423"/>
              <a:gd name="T16" fmla="*/ 547 w 650"/>
              <a:gd name="T17" fmla="*/ 419 h 423"/>
              <a:gd name="T18" fmla="*/ 621 w 650"/>
              <a:gd name="T19" fmla="*/ 419 h 423"/>
              <a:gd name="T20" fmla="*/ 650 w 650"/>
              <a:gd name="T21" fmla="*/ 349 h 423"/>
              <a:gd name="T22" fmla="*/ 650 w 650"/>
              <a:gd name="T23" fmla="*/ 348 h 423"/>
              <a:gd name="T24" fmla="*/ 475 w 650"/>
              <a:gd name="T25" fmla="*/ 83 h 423"/>
              <a:gd name="T26" fmla="*/ 327 w 650"/>
              <a:gd name="T27" fmla="*/ 0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3">
                <a:moveTo>
                  <a:pt x="327" y="0"/>
                </a:moveTo>
                <a:cubicBezTo>
                  <a:pt x="269" y="0"/>
                  <a:pt x="215" y="30"/>
                  <a:pt x="180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3"/>
                  <a:pt x="105" y="423"/>
                  <a:pt x="105" y="423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6"/>
                  <a:pt x="347" y="116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1" y="419"/>
                  <a:pt x="621" y="419"/>
                  <a:pt x="621" y="419"/>
                </a:cubicBezTo>
                <a:cubicBezTo>
                  <a:pt x="650" y="349"/>
                  <a:pt x="650" y="349"/>
                  <a:pt x="650" y="34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69C1B591-252D-227E-D1A3-C5C94AECDD27}"/>
              </a:ext>
            </a:extLst>
          </p:cNvPr>
          <p:cNvSpPr>
            <a:spLocks/>
          </p:cNvSpPr>
          <p:nvPr/>
        </p:nvSpPr>
        <p:spPr bwMode="auto">
          <a:xfrm>
            <a:off x="8538211" y="3897363"/>
            <a:ext cx="2077873" cy="1351903"/>
          </a:xfrm>
          <a:custGeom>
            <a:avLst/>
            <a:gdLst>
              <a:gd name="T0" fmla="*/ 619 w 650"/>
              <a:gd name="T1" fmla="*/ 6 h 422"/>
              <a:gd name="T2" fmla="*/ 544 w 650"/>
              <a:gd name="T3" fmla="*/ 5 h 422"/>
              <a:gd name="T4" fmla="*/ 467 w 650"/>
              <a:gd name="T5" fmla="*/ 122 h 422"/>
              <a:gd name="T6" fmla="*/ 369 w 650"/>
              <a:gd name="T7" fmla="*/ 270 h 422"/>
              <a:gd name="T8" fmla="*/ 282 w 650"/>
              <a:gd name="T9" fmla="*/ 270 h 422"/>
              <a:gd name="T10" fmla="*/ 184 w 650"/>
              <a:gd name="T11" fmla="*/ 122 h 422"/>
              <a:gd name="T12" fmla="*/ 104 w 650"/>
              <a:gd name="T13" fmla="*/ 0 h 422"/>
              <a:gd name="T14" fmla="*/ 104 w 650"/>
              <a:gd name="T15" fmla="*/ 0 h 422"/>
              <a:gd name="T16" fmla="*/ 74 w 650"/>
              <a:gd name="T17" fmla="*/ 70 h 422"/>
              <a:gd name="T18" fmla="*/ 0 w 650"/>
              <a:gd name="T19" fmla="*/ 70 h 422"/>
              <a:gd name="T20" fmla="*/ 178 w 650"/>
              <a:gd name="T21" fmla="*/ 339 h 422"/>
              <a:gd name="T22" fmla="*/ 289 w 650"/>
              <a:gd name="T23" fmla="*/ 418 h 422"/>
              <a:gd name="T24" fmla="*/ 322 w 650"/>
              <a:gd name="T25" fmla="*/ 422 h 422"/>
              <a:gd name="T26" fmla="*/ 325 w 650"/>
              <a:gd name="T27" fmla="*/ 422 h 422"/>
              <a:gd name="T28" fmla="*/ 473 w 650"/>
              <a:gd name="T29" fmla="*/ 339 h 422"/>
              <a:gd name="T30" fmla="*/ 650 w 650"/>
              <a:gd name="T31" fmla="*/ 72 h 422"/>
              <a:gd name="T32" fmla="*/ 619 w 650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50" h="422">
                <a:moveTo>
                  <a:pt x="619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8" y="90"/>
                  <a:pt x="467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7"/>
                  <a:pt x="306" y="307"/>
                  <a:pt x="282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8" y="37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74" y="70"/>
                  <a:pt x="74" y="70"/>
                  <a:pt x="74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8" y="339"/>
                  <a:pt x="178" y="339"/>
                  <a:pt x="178" y="339"/>
                </a:cubicBezTo>
                <a:cubicBezTo>
                  <a:pt x="205" y="381"/>
                  <a:pt x="245" y="409"/>
                  <a:pt x="289" y="418"/>
                </a:cubicBezTo>
                <a:cubicBezTo>
                  <a:pt x="322" y="422"/>
                  <a:pt x="322" y="422"/>
                  <a:pt x="322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50" y="72"/>
                  <a:pt x="650" y="72"/>
                  <a:pt x="650" y="72"/>
                </a:cubicBezTo>
                <a:lnTo>
                  <a:pt x="619" y="6"/>
                </a:ln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Freeform 20">
            <a:extLst>
              <a:ext uri="{FF2B5EF4-FFF2-40B4-BE49-F238E27FC236}">
                <a16:creationId xmlns:a16="http://schemas.microsoft.com/office/drawing/2014/main" id="{380A2482-9921-1336-CDC1-5D33735045F4}"/>
              </a:ext>
            </a:extLst>
          </p:cNvPr>
          <p:cNvSpPr>
            <a:spLocks/>
          </p:cNvSpPr>
          <p:nvPr/>
        </p:nvSpPr>
        <p:spPr bwMode="auto">
          <a:xfrm>
            <a:off x="6788850" y="2777988"/>
            <a:ext cx="2077873" cy="1353255"/>
          </a:xfrm>
          <a:custGeom>
            <a:avLst/>
            <a:gdLst>
              <a:gd name="T0" fmla="*/ 327 w 650"/>
              <a:gd name="T1" fmla="*/ 0 h 422"/>
              <a:gd name="T2" fmla="*/ 179 w 650"/>
              <a:gd name="T3" fmla="*/ 83 h 422"/>
              <a:gd name="T4" fmla="*/ 0 w 650"/>
              <a:gd name="T5" fmla="*/ 356 h 422"/>
              <a:gd name="T6" fmla="*/ 105 w 650"/>
              <a:gd name="T7" fmla="*/ 422 h 422"/>
              <a:gd name="T8" fmla="*/ 186 w 650"/>
              <a:gd name="T9" fmla="*/ 300 h 422"/>
              <a:gd name="T10" fmla="*/ 284 w 650"/>
              <a:gd name="T11" fmla="*/ 152 h 422"/>
              <a:gd name="T12" fmla="*/ 371 w 650"/>
              <a:gd name="T13" fmla="*/ 152 h 422"/>
              <a:gd name="T14" fmla="*/ 469 w 650"/>
              <a:gd name="T15" fmla="*/ 300 h 422"/>
              <a:gd name="T16" fmla="*/ 547 w 650"/>
              <a:gd name="T17" fmla="*/ 419 h 422"/>
              <a:gd name="T18" fmla="*/ 620 w 650"/>
              <a:gd name="T19" fmla="*/ 419 h 422"/>
              <a:gd name="T20" fmla="*/ 650 w 650"/>
              <a:gd name="T21" fmla="*/ 348 h 422"/>
              <a:gd name="T22" fmla="*/ 650 w 650"/>
              <a:gd name="T23" fmla="*/ 348 h 422"/>
              <a:gd name="T24" fmla="*/ 475 w 650"/>
              <a:gd name="T25" fmla="*/ 83 h 422"/>
              <a:gd name="T26" fmla="*/ 327 w 650"/>
              <a:gd name="T27" fmla="*/ 0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2">
                <a:moveTo>
                  <a:pt x="327" y="0"/>
                </a:moveTo>
                <a:cubicBezTo>
                  <a:pt x="268" y="0"/>
                  <a:pt x="214" y="30"/>
                  <a:pt x="179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2"/>
                  <a:pt x="105" y="422"/>
                  <a:pt x="105" y="422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5"/>
                  <a:pt x="347" y="115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0" y="419"/>
                  <a:pt x="620" y="419"/>
                  <a:pt x="620" y="41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67D2722-521D-DAB3-1A3F-3B47129A2C3C}"/>
              </a:ext>
            </a:extLst>
          </p:cNvPr>
          <p:cNvSpPr>
            <a:spLocks/>
          </p:cNvSpPr>
          <p:nvPr/>
        </p:nvSpPr>
        <p:spPr bwMode="auto">
          <a:xfrm>
            <a:off x="1575916" y="3902770"/>
            <a:ext cx="2073817" cy="1353255"/>
          </a:xfrm>
          <a:custGeom>
            <a:avLst/>
            <a:gdLst>
              <a:gd name="T0" fmla="*/ 619 w 649"/>
              <a:gd name="T1" fmla="*/ 5 h 422"/>
              <a:gd name="T2" fmla="*/ 544 w 649"/>
              <a:gd name="T3" fmla="*/ 4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4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8 h 422"/>
              <a:gd name="T22" fmla="*/ 289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8 h 422"/>
              <a:gd name="T30" fmla="*/ 649 w 649"/>
              <a:gd name="T31" fmla="*/ 71 h 422"/>
              <a:gd name="T32" fmla="*/ 619 w 649"/>
              <a:gd name="T33" fmla="*/ 5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9" y="5"/>
                </a:moveTo>
                <a:cubicBezTo>
                  <a:pt x="544" y="4"/>
                  <a:pt x="544" y="4"/>
                  <a:pt x="544" y="4"/>
                </a:cubicBezTo>
                <a:cubicBezTo>
                  <a:pt x="520" y="40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6"/>
                  <a:pt x="305" y="306"/>
                  <a:pt x="281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7" y="36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8"/>
                  <a:pt x="177" y="338"/>
                  <a:pt x="177" y="338"/>
                </a:cubicBezTo>
                <a:cubicBezTo>
                  <a:pt x="205" y="380"/>
                  <a:pt x="244" y="408"/>
                  <a:pt x="289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1"/>
                  <a:pt x="473" y="338"/>
                </a:cubicBezTo>
                <a:cubicBezTo>
                  <a:pt x="649" y="71"/>
                  <a:pt x="649" y="71"/>
                  <a:pt x="649" y="71"/>
                </a:cubicBezTo>
                <a:lnTo>
                  <a:pt x="619" y="5"/>
                </a:ln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4D4F04BF-8D9D-04B0-9B35-BF7402C32E39}"/>
              </a:ext>
            </a:extLst>
          </p:cNvPr>
          <p:cNvSpPr>
            <a:spLocks/>
          </p:cNvSpPr>
          <p:nvPr/>
        </p:nvSpPr>
        <p:spPr bwMode="auto">
          <a:xfrm>
            <a:off x="5057063" y="3897363"/>
            <a:ext cx="2073817" cy="1351903"/>
          </a:xfrm>
          <a:custGeom>
            <a:avLst/>
            <a:gdLst>
              <a:gd name="T0" fmla="*/ 618 w 649"/>
              <a:gd name="T1" fmla="*/ 6 h 422"/>
              <a:gd name="T2" fmla="*/ 544 w 649"/>
              <a:gd name="T3" fmla="*/ 5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3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9 h 422"/>
              <a:gd name="T22" fmla="*/ 288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9 h 422"/>
              <a:gd name="T30" fmla="*/ 649 w 649"/>
              <a:gd name="T31" fmla="*/ 72 h 422"/>
              <a:gd name="T32" fmla="*/ 618 w 649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8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4" y="307"/>
                  <a:pt x="305" y="307"/>
                  <a:pt x="281" y="270"/>
                </a:cubicBezTo>
                <a:cubicBezTo>
                  <a:pt x="183" y="122"/>
                  <a:pt x="183" y="122"/>
                  <a:pt x="183" y="122"/>
                </a:cubicBezTo>
                <a:cubicBezTo>
                  <a:pt x="162" y="89"/>
                  <a:pt x="127" y="37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9"/>
                  <a:pt x="177" y="339"/>
                  <a:pt x="177" y="339"/>
                </a:cubicBezTo>
                <a:cubicBezTo>
                  <a:pt x="205" y="381"/>
                  <a:pt x="244" y="409"/>
                  <a:pt x="288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2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49" y="72"/>
                  <a:pt x="649" y="72"/>
                  <a:pt x="649" y="72"/>
                </a:cubicBezTo>
                <a:lnTo>
                  <a:pt x="618" y="6"/>
                </a:lnTo>
                <a:close/>
              </a:path>
            </a:pathLst>
          </a:custGeom>
          <a:solidFill>
            <a:srgbClr val="3B393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9E6DE00-C4FA-3A51-6C18-889C752F435B}"/>
              </a:ext>
            </a:extLst>
          </p:cNvPr>
          <p:cNvGrpSpPr>
            <a:grpSpLocks noChangeAspect="1"/>
          </p:cNvGrpSpPr>
          <p:nvPr/>
        </p:nvGrpSpPr>
        <p:grpSpPr>
          <a:xfrm>
            <a:off x="2417564" y="3810951"/>
            <a:ext cx="393224" cy="448854"/>
            <a:chOff x="2005013" y="1858963"/>
            <a:chExt cx="325437" cy="371476"/>
          </a:xfrm>
          <a:solidFill>
            <a:srgbClr val="E2583D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7772A681-EA9C-2DE1-128A-BB0A4C2F0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1050" y="1905001"/>
              <a:ext cx="231775" cy="233363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4 h 60"/>
                <a:gd name="T12" fmla="*/ 4 w 60"/>
                <a:gd name="T13" fmla="*/ 30 h 60"/>
                <a:gd name="T14" fmla="*/ 30 w 60"/>
                <a:gd name="T15" fmla="*/ 56 h 60"/>
                <a:gd name="T16" fmla="*/ 56 w 60"/>
                <a:gd name="T17" fmla="*/ 30 h 60"/>
                <a:gd name="T18" fmla="*/ 30 w 60"/>
                <a:gd name="T19" fmla="*/ 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4"/>
                  </a:moveTo>
                  <a:cubicBezTo>
                    <a:pt x="16" y="4"/>
                    <a:pt x="4" y="16"/>
                    <a:pt x="4" y="30"/>
                  </a:cubicBezTo>
                  <a:cubicBezTo>
                    <a:pt x="4" y="44"/>
                    <a:pt x="16" y="56"/>
                    <a:pt x="30" y="56"/>
                  </a:cubicBezTo>
                  <a:cubicBezTo>
                    <a:pt x="44" y="56"/>
                    <a:pt x="56" y="44"/>
                    <a:pt x="56" y="30"/>
                  </a:cubicBezTo>
                  <a:cubicBezTo>
                    <a:pt x="56" y="16"/>
                    <a:pt x="44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95B6ABB0-E37D-F3C0-25F2-9F20AD567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963" y="2122488"/>
              <a:ext cx="107950" cy="46038"/>
            </a:xfrm>
            <a:custGeom>
              <a:avLst/>
              <a:gdLst>
                <a:gd name="T0" fmla="*/ 26 w 28"/>
                <a:gd name="T1" fmla="*/ 12 h 12"/>
                <a:gd name="T2" fmla="*/ 2 w 28"/>
                <a:gd name="T3" fmla="*/ 12 h 12"/>
                <a:gd name="T4" fmla="*/ 0 w 28"/>
                <a:gd name="T5" fmla="*/ 10 h 12"/>
                <a:gd name="T6" fmla="*/ 0 w 28"/>
                <a:gd name="T7" fmla="*/ 0 h 12"/>
                <a:gd name="T8" fmla="*/ 4 w 28"/>
                <a:gd name="T9" fmla="*/ 0 h 12"/>
                <a:gd name="T10" fmla="*/ 4 w 28"/>
                <a:gd name="T11" fmla="*/ 8 h 12"/>
                <a:gd name="T12" fmla="*/ 24 w 28"/>
                <a:gd name="T13" fmla="*/ 8 h 12"/>
                <a:gd name="T14" fmla="*/ 24 w 28"/>
                <a:gd name="T15" fmla="*/ 0 h 12"/>
                <a:gd name="T16" fmla="*/ 28 w 28"/>
                <a:gd name="T17" fmla="*/ 0 h 12"/>
                <a:gd name="T18" fmla="*/ 28 w 28"/>
                <a:gd name="T19" fmla="*/ 10 h 12"/>
                <a:gd name="T20" fmla="*/ 26 w 28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2">
                  <a:moveTo>
                    <a:pt x="26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7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B5D5ED56-8A4A-52FD-FBEC-1DCF2EA81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838" y="2152651"/>
              <a:ext cx="76200" cy="47625"/>
            </a:xfrm>
            <a:custGeom>
              <a:avLst/>
              <a:gdLst>
                <a:gd name="T0" fmla="*/ 18 w 20"/>
                <a:gd name="T1" fmla="*/ 12 h 12"/>
                <a:gd name="T2" fmla="*/ 2 w 20"/>
                <a:gd name="T3" fmla="*/ 12 h 12"/>
                <a:gd name="T4" fmla="*/ 0 w 20"/>
                <a:gd name="T5" fmla="*/ 10 h 12"/>
                <a:gd name="T6" fmla="*/ 0 w 20"/>
                <a:gd name="T7" fmla="*/ 2 h 12"/>
                <a:gd name="T8" fmla="*/ 2 w 20"/>
                <a:gd name="T9" fmla="*/ 0 h 12"/>
                <a:gd name="T10" fmla="*/ 18 w 20"/>
                <a:gd name="T11" fmla="*/ 0 h 12"/>
                <a:gd name="T12" fmla="*/ 20 w 20"/>
                <a:gd name="T13" fmla="*/ 2 h 12"/>
                <a:gd name="T14" fmla="*/ 20 w 20"/>
                <a:gd name="T15" fmla="*/ 10 h 12"/>
                <a:gd name="T16" fmla="*/ 18 w 20"/>
                <a:gd name="T17" fmla="*/ 12 h 12"/>
                <a:gd name="T18" fmla="*/ 4 w 20"/>
                <a:gd name="T19" fmla="*/ 8 h 12"/>
                <a:gd name="T20" fmla="*/ 16 w 20"/>
                <a:gd name="T21" fmla="*/ 8 h 12"/>
                <a:gd name="T22" fmla="*/ 16 w 20"/>
                <a:gd name="T23" fmla="*/ 4 h 12"/>
                <a:gd name="T24" fmla="*/ 4 w 20"/>
                <a:gd name="T25" fmla="*/ 4 h 12"/>
                <a:gd name="T26" fmla="*/ 4 w 20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2">
                  <a:moveTo>
                    <a:pt x="18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19" y="12"/>
                    <a:pt x="18" y="12"/>
                  </a:cubicBezTo>
                  <a:close/>
                  <a:moveTo>
                    <a:pt x="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71F7B906-47DE-B5A6-0B50-8CB6349C3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0" y="2184401"/>
              <a:ext cx="15875" cy="46038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8F3C03F2-BC3C-1D64-84F9-8BC9EF003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0" y="1858963"/>
              <a:ext cx="15875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30CE4639-1130-7F69-22D3-F1CA4463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8" y="1905001"/>
              <a:ext cx="26987" cy="26988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1 w 7"/>
                <a:gd name="T5" fmla="*/ 3 h 7"/>
                <a:gd name="T6" fmla="*/ 4 w 7"/>
                <a:gd name="T7" fmla="*/ 0 h 7"/>
                <a:gd name="T8" fmla="*/ 7 w 7"/>
                <a:gd name="T9" fmla="*/ 0 h 7"/>
                <a:gd name="T10" fmla="*/ 7 w 7"/>
                <a:gd name="T11" fmla="*/ 3 h 7"/>
                <a:gd name="T12" fmla="*/ 4 w 7"/>
                <a:gd name="T13" fmla="*/ 6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2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32">
              <a:extLst>
                <a:ext uri="{FF2B5EF4-FFF2-40B4-BE49-F238E27FC236}">
                  <a16:creationId xmlns:a16="http://schemas.microsoft.com/office/drawing/2014/main" id="{02B1FD37-38CC-EE93-136E-CBB895AD1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0" y="2014538"/>
              <a:ext cx="31750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E2B86B16-7BB5-2CC4-99F6-EF3FE14C9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8" y="2109788"/>
              <a:ext cx="26987" cy="28575"/>
            </a:xfrm>
            <a:custGeom>
              <a:avLst/>
              <a:gdLst>
                <a:gd name="T0" fmla="*/ 5 w 7"/>
                <a:gd name="T1" fmla="*/ 7 h 7"/>
                <a:gd name="T2" fmla="*/ 4 w 7"/>
                <a:gd name="T3" fmla="*/ 7 h 7"/>
                <a:gd name="T4" fmla="*/ 1 w 7"/>
                <a:gd name="T5" fmla="*/ 4 h 7"/>
                <a:gd name="T6" fmla="*/ 1 w 7"/>
                <a:gd name="T7" fmla="*/ 1 h 7"/>
                <a:gd name="T8" fmla="*/ 4 w 7"/>
                <a:gd name="T9" fmla="*/ 1 h 7"/>
                <a:gd name="T10" fmla="*/ 7 w 7"/>
                <a:gd name="T11" fmla="*/ 4 h 7"/>
                <a:gd name="T12" fmla="*/ 7 w 7"/>
                <a:gd name="T13" fmla="*/ 7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4" y="7"/>
                    <a:pt x="4" y="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Freeform 34">
              <a:extLst>
                <a:ext uri="{FF2B5EF4-FFF2-40B4-BE49-F238E27FC236}">
                  <a16:creationId xmlns:a16="http://schemas.microsoft.com/office/drawing/2014/main" id="{DE587A00-F9EE-0E21-E380-2830758C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050" y="1905001"/>
              <a:ext cx="26987" cy="26988"/>
            </a:xfrm>
            <a:custGeom>
              <a:avLst/>
              <a:gdLst>
                <a:gd name="T0" fmla="*/ 5 w 7"/>
                <a:gd name="T1" fmla="*/ 7 h 7"/>
                <a:gd name="T2" fmla="*/ 3 w 7"/>
                <a:gd name="T3" fmla="*/ 6 h 7"/>
                <a:gd name="T4" fmla="*/ 0 w 7"/>
                <a:gd name="T5" fmla="*/ 3 h 7"/>
                <a:gd name="T6" fmla="*/ 0 w 7"/>
                <a:gd name="T7" fmla="*/ 0 h 7"/>
                <a:gd name="T8" fmla="*/ 3 w 7"/>
                <a:gd name="T9" fmla="*/ 0 h 7"/>
                <a:gd name="T10" fmla="*/ 6 w 7"/>
                <a:gd name="T11" fmla="*/ 3 h 7"/>
                <a:gd name="T12" fmla="*/ 6 w 7"/>
                <a:gd name="T13" fmla="*/ 6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4" y="7"/>
                    <a:pt x="4" y="6"/>
                    <a:pt x="3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Freeform 35">
              <a:extLst>
                <a:ext uri="{FF2B5EF4-FFF2-40B4-BE49-F238E27FC236}">
                  <a16:creationId xmlns:a16="http://schemas.microsoft.com/office/drawing/2014/main" id="{01A6B205-0EC8-2AB6-F787-16B100C01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013" y="2014538"/>
              <a:ext cx="30162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Freeform 36">
              <a:extLst>
                <a:ext uri="{FF2B5EF4-FFF2-40B4-BE49-F238E27FC236}">
                  <a16:creationId xmlns:a16="http://schemas.microsoft.com/office/drawing/2014/main" id="{90522006-47D7-2B9E-F00A-FA54D0B4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050" y="2109788"/>
              <a:ext cx="26987" cy="28575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7 h 7"/>
                <a:gd name="T4" fmla="*/ 0 w 7"/>
                <a:gd name="T5" fmla="*/ 4 h 7"/>
                <a:gd name="T6" fmla="*/ 3 w 7"/>
                <a:gd name="T7" fmla="*/ 1 h 7"/>
                <a:gd name="T8" fmla="*/ 6 w 7"/>
                <a:gd name="T9" fmla="*/ 1 h 7"/>
                <a:gd name="T10" fmla="*/ 6 w 7"/>
                <a:gd name="T11" fmla="*/ 4 h 7"/>
                <a:gd name="T12" fmla="*/ 3 w 7"/>
                <a:gd name="T13" fmla="*/ 7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37">
              <a:extLst>
                <a:ext uri="{FF2B5EF4-FFF2-40B4-BE49-F238E27FC236}">
                  <a16:creationId xmlns:a16="http://schemas.microsoft.com/office/drawing/2014/main" id="{1BD6E3BF-A0C0-8AD2-7564-6C24729B5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7088" y="2014538"/>
              <a:ext cx="139700" cy="115888"/>
            </a:xfrm>
            <a:custGeom>
              <a:avLst/>
              <a:gdLst>
                <a:gd name="T0" fmla="*/ 20 w 36"/>
                <a:gd name="T1" fmla="*/ 30 h 30"/>
                <a:gd name="T2" fmla="*/ 20 w 36"/>
                <a:gd name="T3" fmla="*/ 30 h 30"/>
                <a:gd name="T4" fmla="*/ 18 w 36"/>
                <a:gd name="T5" fmla="*/ 28 h 30"/>
                <a:gd name="T6" fmla="*/ 16 w 36"/>
                <a:gd name="T7" fmla="*/ 30 h 30"/>
                <a:gd name="T8" fmla="*/ 14 w 36"/>
                <a:gd name="T9" fmla="*/ 28 h 30"/>
                <a:gd name="T10" fmla="*/ 10 w 36"/>
                <a:gd name="T11" fmla="*/ 12 h 30"/>
                <a:gd name="T12" fmla="*/ 6 w 36"/>
                <a:gd name="T13" fmla="*/ 12 h 30"/>
                <a:gd name="T14" fmla="*/ 0 w 36"/>
                <a:gd name="T15" fmla="*/ 6 h 30"/>
                <a:gd name="T16" fmla="*/ 6 w 36"/>
                <a:gd name="T17" fmla="*/ 0 h 30"/>
                <a:gd name="T18" fmla="*/ 13 w 36"/>
                <a:gd name="T19" fmla="*/ 5 h 30"/>
                <a:gd name="T20" fmla="*/ 13 w 36"/>
                <a:gd name="T21" fmla="*/ 8 h 30"/>
                <a:gd name="T22" fmla="*/ 23 w 36"/>
                <a:gd name="T23" fmla="*/ 8 h 30"/>
                <a:gd name="T24" fmla="*/ 23 w 36"/>
                <a:gd name="T25" fmla="*/ 5 h 30"/>
                <a:gd name="T26" fmla="*/ 30 w 36"/>
                <a:gd name="T27" fmla="*/ 0 h 30"/>
                <a:gd name="T28" fmla="*/ 36 w 36"/>
                <a:gd name="T29" fmla="*/ 6 h 30"/>
                <a:gd name="T30" fmla="*/ 30 w 36"/>
                <a:gd name="T31" fmla="*/ 12 h 30"/>
                <a:gd name="T32" fmla="*/ 26 w 36"/>
                <a:gd name="T33" fmla="*/ 12 h 30"/>
                <a:gd name="T34" fmla="*/ 22 w 36"/>
                <a:gd name="T35" fmla="*/ 28 h 30"/>
                <a:gd name="T36" fmla="*/ 20 w 36"/>
                <a:gd name="T37" fmla="*/ 30 h 30"/>
                <a:gd name="T38" fmla="*/ 14 w 36"/>
                <a:gd name="T39" fmla="*/ 12 h 30"/>
                <a:gd name="T40" fmla="*/ 18 w 36"/>
                <a:gd name="T41" fmla="*/ 28 h 30"/>
                <a:gd name="T42" fmla="*/ 18 w 36"/>
                <a:gd name="T43" fmla="*/ 28 h 30"/>
                <a:gd name="T44" fmla="*/ 18 w 36"/>
                <a:gd name="T45" fmla="*/ 28 h 30"/>
                <a:gd name="T46" fmla="*/ 22 w 36"/>
                <a:gd name="T47" fmla="*/ 12 h 30"/>
                <a:gd name="T48" fmla="*/ 14 w 36"/>
                <a:gd name="T49" fmla="*/ 12 h 30"/>
                <a:gd name="T50" fmla="*/ 27 w 36"/>
                <a:gd name="T51" fmla="*/ 8 h 30"/>
                <a:gd name="T52" fmla="*/ 30 w 36"/>
                <a:gd name="T53" fmla="*/ 8 h 30"/>
                <a:gd name="T54" fmla="*/ 32 w 36"/>
                <a:gd name="T55" fmla="*/ 6 h 30"/>
                <a:gd name="T56" fmla="*/ 30 w 36"/>
                <a:gd name="T57" fmla="*/ 4 h 30"/>
                <a:gd name="T58" fmla="*/ 27 w 36"/>
                <a:gd name="T59" fmla="*/ 6 h 30"/>
                <a:gd name="T60" fmla="*/ 27 w 36"/>
                <a:gd name="T61" fmla="*/ 8 h 30"/>
                <a:gd name="T62" fmla="*/ 6 w 36"/>
                <a:gd name="T63" fmla="*/ 4 h 30"/>
                <a:gd name="T64" fmla="*/ 4 w 36"/>
                <a:gd name="T65" fmla="*/ 6 h 30"/>
                <a:gd name="T66" fmla="*/ 6 w 36"/>
                <a:gd name="T67" fmla="*/ 8 h 30"/>
                <a:gd name="T68" fmla="*/ 9 w 36"/>
                <a:gd name="T69" fmla="*/ 8 h 30"/>
                <a:gd name="T70" fmla="*/ 9 w 36"/>
                <a:gd name="T71" fmla="*/ 6 h 30"/>
                <a:gd name="T72" fmla="*/ 6 w 36"/>
                <a:gd name="T73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30"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8" y="29"/>
                    <a:pt x="18" y="28"/>
                  </a:cubicBezTo>
                  <a:cubicBezTo>
                    <a:pt x="18" y="29"/>
                    <a:pt x="17" y="30"/>
                    <a:pt x="16" y="30"/>
                  </a:cubicBezTo>
                  <a:cubicBezTo>
                    <a:pt x="15" y="30"/>
                    <a:pt x="14" y="30"/>
                    <a:pt x="14" y="28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2"/>
                    <a:pt x="27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1" y="30"/>
                    <a:pt x="20" y="30"/>
                  </a:cubicBezTo>
                  <a:close/>
                  <a:moveTo>
                    <a:pt x="14" y="12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2" y="12"/>
                    <a:pt x="22" y="12"/>
                    <a:pt x="22" y="12"/>
                  </a:cubicBezTo>
                  <a:lnTo>
                    <a:pt x="14" y="12"/>
                  </a:lnTo>
                  <a:close/>
                  <a:moveTo>
                    <a:pt x="27" y="8"/>
                  </a:move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2" y="7"/>
                    <a:pt x="32" y="6"/>
                  </a:cubicBezTo>
                  <a:cubicBezTo>
                    <a:pt x="32" y="5"/>
                    <a:pt x="31" y="4"/>
                    <a:pt x="30" y="4"/>
                  </a:cubicBezTo>
                  <a:cubicBezTo>
                    <a:pt x="29" y="4"/>
                    <a:pt x="27" y="5"/>
                    <a:pt x="27" y="6"/>
                  </a:cubicBezTo>
                  <a:lnTo>
                    <a:pt x="27" y="8"/>
                  </a:ln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3C2030D-61F6-7D9F-1F42-75B876DA9263}"/>
              </a:ext>
            </a:extLst>
          </p:cNvPr>
          <p:cNvGrpSpPr>
            <a:grpSpLocks noChangeAspect="1"/>
          </p:cNvGrpSpPr>
          <p:nvPr/>
        </p:nvGrpSpPr>
        <p:grpSpPr>
          <a:xfrm>
            <a:off x="4130323" y="3810951"/>
            <a:ext cx="448854" cy="448854"/>
            <a:chOff x="3903073" y="3496769"/>
            <a:chExt cx="360000" cy="360000"/>
          </a:xfrm>
          <a:solidFill>
            <a:srgbClr val="78D2D2"/>
          </a:solidFill>
        </p:grpSpPr>
        <p:sp>
          <p:nvSpPr>
            <p:cNvPr id="39" name="Freeform 79">
              <a:extLst>
                <a:ext uri="{FF2B5EF4-FFF2-40B4-BE49-F238E27FC236}">
                  <a16:creationId xmlns:a16="http://schemas.microsoft.com/office/drawing/2014/main" id="{90BD53E0-36D7-CA25-ED0D-1346CDFAA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Freeform 80">
              <a:extLst>
                <a:ext uri="{FF2B5EF4-FFF2-40B4-BE49-F238E27FC236}">
                  <a16:creationId xmlns:a16="http://schemas.microsoft.com/office/drawing/2014/main" id="{14CD87DD-E585-F18E-96A4-245DD9F4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BCA05EB-0ABB-3063-EC0C-365BD9CC2D2F}"/>
              </a:ext>
            </a:extLst>
          </p:cNvPr>
          <p:cNvGrpSpPr>
            <a:grpSpLocks noChangeAspect="1"/>
          </p:cNvGrpSpPr>
          <p:nvPr/>
        </p:nvGrpSpPr>
        <p:grpSpPr>
          <a:xfrm>
            <a:off x="5909847" y="3888851"/>
            <a:ext cx="370954" cy="370954"/>
            <a:chOff x="-879475" y="2054225"/>
            <a:chExt cx="371475" cy="371475"/>
          </a:xfrm>
          <a:solidFill>
            <a:srgbClr val="3B3939"/>
          </a:solidFill>
        </p:grpSpPr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70C8A14C-FDA4-0CD0-FFED-207AFF72E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9475" y="2054225"/>
              <a:ext cx="325438" cy="325438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4 h 84"/>
                <a:gd name="T12" fmla="*/ 4 w 84"/>
                <a:gd name="T13" fmla="*/ 42 h 84"/>
                <a:gd name="T14" fmla="*/ 42 w 84"/>
                <a:gd name="T15" fmla="*/ 80 h 84"/>
                <a:gd name="T16" fmla="*/ 80 w 84"/>
                <a:gd name="T17" fmla="*/ 42 h 84"/>
                <a:gd name="T18" fmla="*/ 42 w 84"/>
                <a:gd name="T1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4"/>
                  </a:moveTo>
                  <a:cubicBezTo>
                    <a:pt x="21" y="4"/>
                    <a:pt x="4" y="21"/>
                    <a:pt x="4" y="42"/>
                  </a:cubicBezTo>
                  <a:cubicBezTo>
                    <a:pt x="4" y="63"/>
                    <a:pt x="21" y="80"/>
                    <a:pt x="42" y="80"/>
                  </a:cubicBezTo>
                  <a:cubicBezTo>
                    <a:pt x="63" y="80"/>
                    <a:pt x="80" y="63"/>
                    <a:pt x="80" y="42"/>
                  </a:cubicBezTo>
                  <a:cubicBezTo>
                    <a:pt x="80" y="21"/>
                    <a:pt x="63" y="4"/>
                    <a:pt x="4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F896D70-61D7-4E56-13A9-CCAE2D441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950" y="2317750"/>
              <a:ext cx="107950" cy="107950"/>
            </a:xfrm>
            <a:custGeom>
              <a:avLst/>
              <a:gdLst>
                <a:gd name="T0" fmla="*/ 26 w 28"/>
                <a:gd name="T1" fmla="*/ 28 h 28"/>
                <a:gd name="T2" fmla="*/ 25 w 28"/>
                <a:gd name="T3" fmla="*/ 27 h 28"/>
                <a:gd name="T4" fmla="*/ 1 w 28"/>
                <a:gd name="T5" fmla="*/ 4 h 28"/>
                <a:gd name="T6" fmla="*/ 1 w 28"/>
                <a:gd name="T7" fmla="*/ 1 h 28"/>
                <a:gd name="T8" fmla="*/ 4 w 28"/>
                <a:gd name="T9" fmla="*/ 1 h 28"/>
                <a:gd name="T10" fmla="*/ 27 w 28"/>
                <a:gd name="T11" fmla="*/ 25 h 28"/>
                <a:gd name="T12" fmla="*/ 27 w 28"/>
                <a:gd name="T13" fmla="*/ 27 h 28"/>
                <a:gd name="T14" fmla="*/ 26 w 28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5" y="28"/>
                    <a:pt x="25" y="28"/>
                    <a:pt x="25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7"/>
                    <a:pt x="27" y="27"/>
                  </a:cubicBezTo>
                  <a:cubicBezTo>
                    <a:pt x="27" y="28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1353F86F-5A4A-618F-2CF5-CE30E198E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25500" y="2108200"/>
              <a:ext cx="217488" cy="217488"/>
            </a:xfrm>
            <a:custGeom>
              <a:avLst/>
              <a:gdLst>
                <a:gd name="T0" fmla="*/ 22 w 56"/>
                <a:gd name="T1" fmla="*/ 56 h 56"/>
                <a:gd name="T2" fmla="*/ 20 w 56"/>
                <a:gd name="T3" fmla="*/ 48 h 56"/>
                <a:gd name="T4" fmla="*/ 9 w 56"/>
                <a:gd name="T5" fmla="*/ 48 h 56"/>
                <a:gd name="T6" fmla="*/ 1 w 56"/>
                <a:gd name="T7" fmla="*/ 37 h 56"/>
                <a:gd name="T8" fmla="*/ 1 w 56"/>
                <a:gd name="T9" fmla="*/ 34 h 56"/>
                <a:gd name="T10" fmla="*/ 6 w 56"/>
                <a:gd name="T11" fmla="*/ 25 h 56"/>
                <a:gd name="T12" fmla="*/ 1 w 56"/>
                <a:gd name="T13" fmla="*/ 19 h 56"/>
                <a:gd name="T14" fmla="*/ 9 w 56"/>
                <a:gd name="T15" fmla="*/ 8 h 56"/>
                <a:gd name="T16" fmla="*/ 20 w 56"/>
                <a:gd name="T17" fmla="*/ 8 h 56"/>
                <a:gd name="T18" fmla="*/ 22 w 56"/>
                <a:gd name="T19" fmla="*/ 0 h 56"/>
                <a:gd name="T20" fmla="*/ 36 w 56"/>
                <a:gd name="T21" fmla="*/ 2 h 56"/>
                <a:gd name="T22" fmla="*/ 42 w 56"/>
                <a:gd name="T23" fmla="*/ 11 h 56"/>
                <a:gd name="T24" fmla="*/ 49 w 56"/>
                <a:gd name="T25" fmla="*/ 9 h 56"/>
                <a:gd name="T26" fmla="*/ 55 w 56"/>
                <a:gd name="T27" fmla="*/ 21 h 56"/>
                <a:gd name="T28" fmla="*/ 50 w 56"/>
                <a:gd name="T29" fmla="*/ 25 h 56"/>
                <a:gd name="T30" fmla="*/ 55 w 56"/>
                <a:gd name="T31" fmla="*/ 34 h 56"/>
                <a:gd name="T32" fmla="*/ 55 w 56"/>
                <a:gd name="T33" fmla="*/ 37 h 56"/>
                <a:gd name="T34" fmla="*/ 47 w 56"/>
                <a:gd name="T35" fmla="*/ 48 h 56"/>
                <a:gd name="T36" fmla="*/ 36 w 56"/>
                <a:gd name="T37" fmla="*/ 48 h 56"/>
                <a:gd name="T38" fmla="*/ 34 w 56"/>
                <a:gd name="T39" fmla="*/ 56 h 56"/>
                <a:gd name="T40" fmla="*/ 32 w 56"/>
                <a:gd name="T41" fmla="*/ 52 h 56"/>
                <a:gd name="T42" fmla="*/ 33 w 56"/>
                <a:gd name="T43" fmla="*/ 45 h 56"/>
                <a:gd name="T44" fmla="*/ 42 w 56"/>
                <a:gd name="T45" fmla="*/ 41 h 56"/>
                <a:gd name="T46" fmla="*/ 51 w 56"/>
                <a:gd name="T47" fmla="*/ 37 h 56"/>
                <a:gd name="T48" fmla="*/ 45 w 56"/>
                <a:gd name="T49" fmla="*/ 32 h 56"/>
                <a:gd name="T50" fmla="*/ 46 w 56"/>
                <a:gd name="T51" fmla="*/ 22 h 56"/>
                <a:gd name="T52" fmla="*/ 47 w 56"/>
                <a:gd name="T53" fmla="*/ 13 h 56"/>
                <a:gd name="T54" fmla="*/ 40 w 56"/>
                <a:gd name="T55" fmla="*/ 15 h 56"/>
                <a:gd name="T56" fmla="*/ 32 w 56"/>
                <a:gd name="T57" fmla="*/ 9 h 56"/>
                <a:gd name="T58" fmla="*/ 24 w 56"/>
                <a:gd name="T59" fmla="*/ 4 h 56"/>
                <a:gd name="T60" fmla="*/ 23 w 56"/>
                <a:gd name="T61" fmla="*/ 11 h 56"/>
                <a:gd name="T62" fmla="*/ 14 w 56"/>
                <a:gd name="T63" fmla="*/ 15 h 56"/>
                <a:gd name="T64" fmla="*/ 5 w 56"/>
                <a:gd name="T65" fmla="*/ 19 h 56"/>
                <a:gd name="T66" fmla="*/ 11 w 56"/>
                <a:gd name="T67" fmla="*/ 24 h 56"/>
                <a:gd name="T68" fmla="*/ 10 w 56"/>
                <a:gd name="T69" fmla="*/ 34 h 56"/>
                <a:gd name="T70" fmla="*/ 9 w 56"/>
                <a:gd name="T71" fmla="*/ 43 h 56"/>
                <a:gd name="T72" fmla="*/ 16 w 56"/>
                <a:gd name="T73" fmla="*/ 41 h 56"/>
                <a:gd name="T74" fmla="*/ 24 w 56"/>
                <a:gd name="T75" fmla="*/ 4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34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20" y="55"/>
                    <a:pt x="20" y="54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18" y="48"/>
                    <a:pt x="16" y="47"/>
                    <a:pt x="14" y="45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7" y="48"/>
                    <a:pt x="7" y="4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6"/>
                    <a:pt x="0" y="36"/>
                    <a:pt x="1" y="35"/>
                  </a:cubicBezTo>
                  <a:cubicBezTo>
                    <a:pt x="1" y="35"/>
                    <a:pt x="1" y="34"/>
                    <a:pt x="1" y="34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29"/>
                    <a:pt x="6" y="27"/>
                    <a:pt x="6" y="25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0" y="20"/>
                    <a:pt x="1" y="1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6" y="9"/>
                    <a:pt x="18" y="8"/>
                    <a:pt x="20" y="8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8" y="8"/>
                    <a:pt x="40" y="9"/>
                    <a:pt x="42" y="11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9" y="8"/>
                    <a:pt x="49" y="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6" y="20"/>
                    <a:pt x="56" y="20"/>
                    <a:pt x="55" y="21"/>
                  </a:cubicBezTo>
                  <a:cubicBezTo>
                    <a:pt x="55" y="21"/>
                    <a:pt x="55" y="22"/>
                    <a:pt x="55" y="2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7"/>
                    <a:pt x="50" y="29"/>
                    <a:pt x="50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5"/>
                    <a:pt x="55" y="35"/>
                  </a:cubicBezTo>
                  <a:cubicBezTo>
                    <a:pt x="56" y="36"/>
                    <a:pt x="56" y="36"/>
                    <a:pt x="55" y="3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7" y="48"/>
                    <a:pt x="47" y="48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0" y="47"/>
                    <a:pt x="38" y="48"/>
                    <a:pt x="36" y="48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6"/>
                    <a:pt x="34" y="56"/>
                  </a:cubicBezTo>
                  <a:close/>
                  <a:moveTo>
                    <a:pt x="24" y="52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6"/>
                    <a:pt x="33" y="45"/>
                    <a:pt x="33" y="45"/>
                  </a:cubicBezTo>
                  <a:cubicBezTo>
                    <a:pt x="36" y="44"/>
                    <a:pt x="38" y="43"/>
                    <a:pt x="40" y="41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5" y="33"/>
                    <a:pt x="45" y="32"/>
                  </a:cubicBezTo>
                  <a:cubicBezTo>
                    <a:pt x="46" y="29"/>
                    <a:pt x="46" y="27"/>
                    <a:pt x="45" y="24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1" y="15"/>
                    <a:pt x="40" y="15"/>
                  </a:cubicBezTo>
                  <a:cubicBezTo>
                    <a:pt x="38" y="13"/>
                    <a:pt x="36" y="12"/>
                    <a:pt x="33" y="11"/>
                  </a:cubicBezTo>
                  <a:cubicBezTo>
                    <a:pt x="33" y="11"/>
                    <a:pt x="32" y="10"/>
                    <a:pt x="32" y="9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1"/>
                    <a:pt x="23" y="11"/>
                  </a:cubicBezTo>
                  <a:cubicBezTo>
                    <a:pt x="20" y="12"/>
                    <a:pt x="18" y="13"/>
                    <a:pt x="16" y="15"/>
                  </a:cubicBezTo>
                  <a:cubicBezTo>
                    <a:pt x="15" y="15"/>
                    <a:pt x="14" y="15"/>
                    <a:pt x="14" y="15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1" y="23"/>
                    <a:pt x="11" y="24"/>
                  </a:cubicBezTo>
                  <a:cubicBezTo>
                    <a:pt x="10" y="27"/>
                    <a:pt x="10" y="29"/>
                    <a:pt x="11" y="32"/>
                  </a:cubicBezTo>
                  <a:cubicBezTo>
                    <a:pt x="11" y="33"/>
                    <a:pt x="10" y="34"/>
                    <a:pt x="10" y="3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5" y="41"/>
                    <a:pt x="16" y="41"/>
                  </a:cubicBezTo>
                  <a:cubicBezTo>
                    <a:pt x="18" y="43"/>
                    <a:pt x="20" y="44"/>
                    <a:pt x="23" y="45"/>
                  </a:cubicBezTo>
                  <a:cubicBezTo>
                    <a:pt x="23" y="45"/>
                    <a:pt x="24" y="46"/>
                    <a:pt x="24" y="47"/>
                  </a:cubicBezTo>
                  <a:lnTo>
                    <a:pt x="24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1B2194D4-9257-F77B-B14D-85CF036080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5650" y="2178050"/>
              <a:ext cx="77788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7" name="Freeform 48">
            <a:extLst>
              <a:ext uri="{FF2B5EF4-FFF2-40B4-BE49-F238E27FC236}">
                <a16:creationId xmlns:a16="http://schemas.microsoft.com/office/drawing/2014/main" id="{A3C54770-96CD-0A17-A6D9-D479FF44A9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32392" y="3864814"/>
            <a:ext cx="407013" cy="394992"/>
          </a:xfrm>
          <a:custGeom>
            <a:avLst/>
            <a:gdLst>
              <a:gd name="T0" fmla="*/ 10 w 97"/>
              <a:gd name="T1" fmla="*/ 94 h 94"/>
              <a:gd name="T2" fmla="*/ 3 w 97"/>
              <a:gd name="T3" fmla="*/ 91 h 94"/>
              <a:gd name="T4" fmla="*/ 0 w 97"/>
              <a:gd name="T5" fmla="*/ 84 h 94"/>
              <a:gd name="T6" fmla="*/ 3 w 97"/>
              <a:gd name="T7" fmla="*/ 77 h 94"/>
              <a:gd name="T8" fmla="*/ 41 w 97"/>
              <a:gd name="T9" fmla="*/ 39 h 94"/>
              <a:gd name="T10" fmla="*/ 47 w 97"/>
              <a:gd name="T11" fmla="*/ 8 h 94"/>
              <a:gd name="T12" fmla="*/ 67 w 97"/>
              <a:gd name="T13" fmla="*/ 0 h 94"/>
              <a:gd name="T14" fmla="*/ 79 w 97"/>
              <a:gd name="T15" fmla="*/ 3 h 94"/>
              <a:gd name="T16" fmla="*/ 80 w 97"/>
              <a:gd name="T17" fmla="*/ 4 h 94"/>
              <a:gd name="T18" fmla="*/ 80 w 97"/>
              <a:gd name="T19" fmla="*/ 6 h 94"/>
              <a:gd name="T20" fmla="*/ 68 w 97"/>
              <a:gd name="T21" fmla="*/ 19 h 94"/>
              <a:gd name="T22" fmla="*/ 68 w 97"/>
              <a:gd name="T23" fmla="*/ 27 h 94"/>
              <a:gd name="T24" fmla="*/ 75 w 97"/>
              <a:gd name="T25" fmla="*/ 27 h 94"/>
              <a:gd name="T26" fmla="*/ 88 w 97"/>
              <a:gd name="T27" fmla="*/ 14 h 94"/>
              <a:gd name="T28" fmla="*/ 90 w 97"/>
              <a:gd name="T29" fmla="*/ 14 h 94"/>
              <a:gd name="T30" fmla="*/ 91 w 97"/>
              <a:gd name="T31" fmla="*/ 15 h 94"/>
              <a:gd name="T32" fmla="*/ 86 w 97"/>
              <a:gd name="T33" fmla="*/ 47 h 94"/>
              <a:gd name="T34" fmla="*/ 66 w 97"/>
              <a:gd name="T35" fmla="*/ 56 h 94"/>
              <a:gd name="T36" fmla="*/ 66 w 97"/>
              <a:gd name="T37" fmla="*/ 56 h 94"/>
              <a:gd name="T38" fmla="*/ 55 w 97"/>
              <a:gd name="T39" fmla="*/ 53 h 94"/>
              <a:gd name="T40" fmla="*/ 17 w 97"/>
              <a:gd name="T41" fmla="*/ 91 h 94"/>
              <a:gd name="T42" fmla="*/ 10 w 97"/>
              <a:gd name="T43" fmla="*/ 94 h 94"/>
              <a:gd name="T44" fmla="*/ 67 w 97"/>
              <a:gd name="T45" fmla="*/ 4 h 94"/>
              <a:gd name="T46" fmla="*/ 50 w 97"/>
              <a:gd name="T47" fmla="*/ 11 h 94"/>
              <a:gd name="T48" fmla="*/ 45 w 97"/>
              <a:gd name="T49" fmla="*/ 39 h 94"/>
              <a:gd name="T50" fmla="*/ 45 w 97"/>
              <a:gd name="T51" fmla="*/ 41 h 94"/>
              <a:gd name="T52" fmla="*/ 5 w 97"/>
              <a:gd name="T53" fmla="*/ 80 h 94"/>
              <a:gd name="T54" fmla="*/ 4 w 97"/>
              <a:gd name="T55" fmla="*/ 84 h 94"/>
              <a:gd name="T56" fmla="*/ 5 w 97"/>
              <a:gd name="T57" fmla="*/ 89 h 94"/>
              <a:gd name="T58" fmla="*/ 14 w 97"/>
              <a:gd name="T59" fmla="*/ 89 h 94"/>
              <a:gd name="T60" fmla="*/ 53 w 97"/>
              <a:gd name="T61" fmla="*/ 49 h 94"/>
              <a:gd name="T62" fmla="*/ 55 w 97"/>
              <a:gd name="T63" fmla="*/ 49 h 94"/>
              <a:gd name="T64" fmla="*/ 66 w 97"/>
              <a:gd name="T65" fmla="*/ 52 h 94"/>
              <a:gd name="T66" fmla="*/ 83 w 97"/>
              <a:gd name="T67" fmla="*/ 45 h 94"/>
              <a:gd name="T68" fmla="*/ 89 w 97"/>
              <a:gd name="T69" fmla="*/ 19 h 94"/>
              <a:gd name="T70" fmla="*/ 78 w 97"/>
              <a:gd name="T71" fmla="*/ 30 h 94"/>
              <a:gd name="T72" fmla="*/ 76 w 97"/>
              <a:gd name="T73" fmla="*/ 31 h 94"/>
              <a:gd name="T74" fmla="*/ 66 w 97"/>
              <a:gd name="T75" fmla="*/ 31 h 94"/>
              <a:gd name="T76" fmla="*/ 64 w 97"/>
              <a:gd name="T77" fmla="*/ 29 h 94"/>
              <a:gd name="T78" fmla="*/ 64 w 97"/>
              <a:gd name="T79" fmla="*/ 18 h 94"/>
              <a:gd name="T80" fmla="*/ 64 w 97"/>
              <a:gd name="T81" fmla="*/ 16 h 94"/>
              <a:gd name="T82" fmla="*/ 75 w 97"/>
              <a:gd name="T83" fmla="*/ 5 h 94"/>
              <a:gd name="T84" fmla="*/ 67 w 97"/>
              <a:gd name="T85" fmla="*/ 4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7" h="94">
                <a:moveTo>
                  <a:pt x="10" y="94"/>
                </a:moveTo>
                <a:cubicBezTo>
                  <a:pt x="7" y="94"/>
                  <a:pt x="4" y="93"/>
                  <a:pt x="3" y="91"/>
                </a:cubicBezTo>
                <a:cubicBezTo>
                  <a:pt x="1" y="90"/>
                  <a:pt x="0" y="87"/>
                  <a:pt x="0" y="84"/>
                </a:cubicBezTo>
                <a:cubicBezTo>
                  <a:pt x="0" y="82"/>
                  <a:pt x="1" y="79"/>
                  <a:pt x="3" y="77"/>
                </a:cubicBezTo>
                <a:cubicBezTo>
                  <a:pt x="41" y="39"/>
                  <a:pt x="41" y="39"/>
                  <a:pt x="41" y="39"/>
                </a:cubicBezTo>
                <a:cubicBezTo>
                  <a:pt x="36" y="28"/>
                  <a:pt x="38" y="16"/>
                  <a:pt x="47" y="8"/>
                </a:cubicBezTo>
                <a:cubicBezTo>
                  <a:pt x="52" y="3"/>
                  <a:pt x="59" y="0"/>
                  <a:pt x="67" y="0"/>
                </a:cubicBezTo>
                <a:cubicBezTo>
                  <a:pt x="71" y="0"/>
                  <a:pt x="76" y="1"/>
                  <a:pt x="79" y="3"/>
                </a:cubicBezTo>
                <a:cubicBezTo>
                  <a:pt x="80" y="3"/>
                  <a:pt x="80" y="4"/>
                  <a:pt x="80" y="4"/>
                </a:cubicBezTo>
                <a:cubicBezTo>
                  <a:pt x="81" y="5"/>
                  <a:pt x="80" y="5"/>
                  <a:pt x="80" y="6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7"/>
                  <a:pt x="68" y="27"/>
                  <a:pt x="68" y="27"/>
                </a:cubicBezTo>
                <a:cubicBezTo>
                  <a:pt x="75" y="27"/>
                  <a:pt x="75" y="27"/>
                  <a:pt x="75" y="27"/>
                </a:cubicBezTo>
                <a:cubicBezTo>
                  <a:pt x="88" y="14"/>
                  <a:pt x="88" y="14"/>
                  <a:pt x="88" y="14"/>
                </a:cubicBezTo>
                <a:cubicBezTo>
                  <a:pt x="89" y="14"/>
                  <a:pt x="89" y="14"/>
                  <a:pt x="90" y="14"/>
                </a:cubicBezTo>
                <a:cubicBezTo>
                  <a:pt x="90" y="14"/>
                  <a:pt x="91" y="14"/>
                  <a:pt x="91" y="15"/>
                </a:cubicBezTo>
                <a:cubicBezTo>
                  <a:pt x="97" y="26"/>
                  <a:pt x="95" y="39"/>
                  <a:pt x="86" y="47"/>
                </a:cubicBezTo>
                <a:cubicBezTo>
                  <a:pt x="81" y="53"/>
                  <a:pt x="74" y="56"/>
                  <a:pt x="66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62" y="56"/>
                  <a:pt x="59" y="55"/>
                  <a:pt x="55" y="53"/>
                </a:cubicBezTo>
                <a:cubicBezTo>
                  <a:pt x="17" y="91"/>
                  <a:pt x="17" y="91"/>
                  <a:pt x="17" y="91"/>
                </a:cubicBezTo>
                <a:cubicBezTo>
                  <a:pt x="15" y="93"/>
                  <a:pt x="12" y="94"/>
                  <a:pt x="10" y="94"/>
                </a:cubicBezTo>
                <a:close/>
                <a:moveTo>
                  <a:pt x="67" y="4"/>
                </a:moveTo>
                <a:cubicBezTo>
                  <a:pt x="60" y="4"/>
                  <a:pt x="54" y="6"/>
                  <a:pt x="50" y="11"/>
                </a:cubicBezTo>
                <a:cubicBezTo>
                  <a:pt x="42" y="18"/>
                  <a:pt x="40" y="29"/>
                  <a:pt x="45" y="39"/>
                </a:cubicBezTo>
                <a:cubicBezTo>
                  <a:pt x="45" y="39"/>
                  <a:pt x="45" y="40"/>
                  <a:pt x="45" y="41"/>
                </a:cubicBezTo>
                <a:cubicBezTo>
                  <a:pt x="5" y="80"/>
                  <a:pt x="5" y="80"/>
                  <a:pt x="5" y="80"/>
                </a:cubicBezTo>
                <a:cubicBezTo>
                  <a:pt x="4" y="81"/>
                  <a:pt x="4" y="83"/>
                  <a:pt x="4" y="84"/>
                </a:cubicBezTo>
                <a:cubicBezTo>
                  <a:pt x="4" y="86"/>
                  <a:pt x="4" y="87"/>
                  <a:pt x="5" y="89"/>
                </a:cubicBezTo>
                <a:cubicBezTo>
                  <a:pt x="8" y="91"/>
                  <a:pt x="12" y="91"/>
                  <a:pt x="14" y="89"/>
                </a:cubicBezTo>
                <a:cubicBezTo>
                  <a:pt x="53" y="49"/>
                  <a:pt x="53" y="49"/>
                  <a:pt x="53" y="49"/>
                </a:cubicBezTo>
                <a:cubicBezTo>
                  <a:pt x="54" y="49"/>
                  <a:pt x="55" y="49"/>
                  <a:pt x="55" y="49"/>
                </a:cubicBezTo>
                <a:cubicBezTo>
                  <a:pt x="59" y="51"/>
                  <a:pt x="63" y="52"/>
                  <a:pt x="66" y="52"/>
                </a:cubicBezTo>
                <a:cubicBezTo>
                  <a:pt x="73" y="52"/>
                  <a:pt x="79" y="49"/>
                  <a:pt x="83" y="45"/>
                </a:cubicBezTo>
                <a:cubicBezTo>
                  <a:pt x="90" y="38"/>
                  <a:pt x="92" y="28"/>
                  <a:pt x="89" y="19"/>
                </a:cubicBezTo>
                <a:cubicBezTo>
                  <a:pt x="78" y="30"/>
                  <a:pt x="78" y="30"/>
                  <a:pt x="78" y="30"/>
                </a:cubicBezTo>
                <a:cubicBezTo>
                  <a:pt x="77" y="31"/>
                  <a:pt x="77" y="31"/>
                  <a:pt x="76" y="31"/>
                </a:cubicBezTo>
                <a:cubicBezTo>
                  <a:pt x="66" y="31"/>
                  <a:pt x="66" y="31"/>
                  <a:pt x="66" y="31"/>
                </a:cubicBezTo>
                <a:cubicBezTo>
                  <a:pt x="65" y="31"/>
                  <a:pt x="64" y="30"/>
                  <a:pt x="64" y="29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17"/>
                  <a:pt x="64" y="17"/>
                  <a:pt x="64" y="16"/>
                </a:cubicBezTo>
                <a:cubicBezTo>
                  <a:pt x="75" y="5"/>
                  <a:pt x="75" y="5"/>
                  <a:pt x="75" y="5"/>
                </a:cubicBezTo>
                <a:cubicBezTo>
                  <a:pt x="72" y="4"/>
                  <a:pt x="70" y="4"/>
                  <a:pt x="67" y="4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9B565DB-58C3-7DEE-7A50-48C44DF74D34}"/>
              </a:ext>
            </a:extLst>
          </p:cNvPr>
          <p:cNvGrpSpPr>
            <a:grpSpLocks noChangeAspect="1"/>
          </p:cNvGrpSpPr>
          <p:nvPr/>
        </p:nvGrpSpPr>
        <p:grpSpPr>
          <a:xfrm>
            <a:off x="9352045" y="3810951"/>
            <a:ext cx="448855" cy="448854"/>
            <a:chOff x="5988050" y="1774825"/>
            <a:chExt cx="371476" cy="371475"/>
          </a:xfrm>
          <a:solidFill>
            <a:srgbClr val="78D2D2"/>
          </a:solidFill>
        </p:grpSpPr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FCE920D2-458E-55DB-8990-04C90CC2D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5838" y="1960563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53">
              <a:extLst>
                <a:ext uri="{FF2B5EF4-FFF2-40B4-BE49-F238E27FC236}">
                  <a16:creationId xmlns:a16="http://schemas.microsoft.com/office/drawing/2014/main" id="{684ABD72-1576-E5C7-15CC-B35BA6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8050" y="1882775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54">
              <a:extLst>
                <a:ext uri="{FF2B5EF4-FFF2-40B4-BE49-F238E27FC236}">
                  <a16:creationId xmlns:a16="http://schemas.microsoft.com/office/drawing/2014/main" id="{42E44B5B-FB30-2BA5-B534-F0FD05CB6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1575" y="1820863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4432216E-CF86-F65D-C675-FBE0E571A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5538" y="1774825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B0D0A77-279F-E2E0-11A7-97535825FF40}"/>
              </a:ext>
            </a:extLst>
          </p:cNvPr>
          <p:cNvGrpSpPr/>
          <p:nvPr/>
        </p:nvGrpSpPr>
        <p:grpSpPr>
          <a:xfrm>
            <a:off x="1659449" y="1710150"/>
            <a:ext cx="1910806" cy="1067838"/>
            <a:chOff x="1013695" y="2240659"/>
            <a:chExt cx="1532549" cy="856452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E00BD2B4-F040-F71B-BFC9-7B4532C91F52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75D1783-F1D3-B2BA-EBA3-6EE372E82F82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669E709A-7286-2408-7804-9705C3E2897E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F24F861-060D-83F9-66F8-C70AB7B6FD0D}"/>
                </a:ext>
              </a:extLst>
            </p:cNvPr>
            <p:cNvSpPr txBox="1"/>
            <p:nvPr/>
          </p:nvSpPr>
          <p:spPr>
            <a:xfrm>
              <a:off x="1013695" y="2240659"/>
              <a:ext cx="1532549" cy="39496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AI-Enhanced Localized Content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915AD0D-5152-26E2-3456-72B2CFD76662}"/>
              </a:ext>
            </a:extLst>
          </p:cNvPr>
          <p:cNvGrpSpPr/>
          <p:nvPr/>
        </p:nvGrpSpPr>
        <p:grpSpPr>
          <a:xfrm>
            <a:off x="5140597" y="1710150"/>
            <a:ext cx="1910806" cy="1067838"/>
            <a:chOff x="1013695" y="2240659"/>
            <a:chExt cx="1532549" cy="85645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97600E1-5322-4D5C-5C1B-004FBD2A5088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E9A7AFD0-5BD1-0A0E-CCE3-D6C1BC0FF656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EFF96E1-33E3-9DB9-06D6-29636888519E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CE93FDD-53AD-0E5D-8695-1618CFD580A4}"/>
                </a:ext>
              </a:extLst>
            </p:cNvPr>
            <p:cNvSpPr txBox="1"/>
            <p:nvPr/>
          </p:nvSpPr>
          <p:spPr>
            <a:xfrm>
              <a:off x="1013695" y="2240659"/>
              <a:ext cx="1532549" cy="39496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Virtual Global Classrooms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278A858-80B2-C45F-B405-732554C695F8}"/>
              </a:ext>
            </a:extLst>
          </p:cNvPr>
          <p:cNvGrpSpPr/>
          <p:nvPr/>
        </p:nvGrpSpPr>
        <p:grpSpPr>
          <a:xfrm>
            <a:off x="8621745" y="1710150"/>
            <a:ext cx="1910806" cy="1067838"/>
            <a:chOff x="1013695" y="2240659"/>
            <a:chExt cx="1532549" cy="856452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DB2DFA78-7C75-5ABB-25B1-B708F2C2CCB7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681CCB9-8804-7DF8-B334-4AB0C2F77C21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90BEAFE8-D8B5-2DE2-CC99-F54E90EE6B31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7E442CF-6A79-F245-8877-84B56DCF3CD4}"/>
                </a:ext>
              </a:extLst>
            </p:cNvPr>
            <p:cNvSpPr txBox="1"/>
            <p:nvPr/>
          </p:nvSpPr>
          <p:spPr>
            <a:xfrm>
              <a:off x="1013695" y="2240659"/>
              <a:ext cx="1532549" cy="39496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Student-Driven Project Showcase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8CD2084-38CE-2D84-6BBA-8232BF847E7E}"/>
              </a:ext>
            </a:extLst>
          </p:cNvPr>
          <p:cNvGrpSpPr/>
          <p:nvPr/>
        </p:nvGrpSpPr>
        <p:grpSpPr>
          <a:xfrm flipV="1">
            <a:off x="3399348" y="5257786"/>
            <a:ext cx="1910806" cy="984669"/>
            <a:chOff x="1013695" y="2307362"/>
            <a:chExt cx="1532549" cy="789749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2F06BDE-61AB-1E5E-7F20-A7D39A688B8C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F9D0B934-4AAB-7706-4B2C-FB67C46D4D29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07B93D5D-22DE-2D89-CB20-B82BFA0AD7E2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F8EC53C-29E6-07BB-D437-7DE036FC84F4}"/>
                </a:ext>
              </a:extLst>
            </p:cNvPr>
            <p:cNvSpPr txBox="1"/>
            <p:nvPr/>
          </p:nvSpPr>
          <p:spPr>
            <a:xfrm flipV="1">
              <a:off x="1013695" y="2307362"/>
              <a:ext cx="1532549" cy="39496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Gamified Learning Experience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2C0250E-C28D-7A12-F008-7A7F7B8B3989}"/>
              </a:ext>
            </a:extLst>
          </p:cNvPr>
          <p:cNvGrpSpPr/>
          <p:nvPr/>
        </p:nvGrpSpPr>
        <p:grpSpPr>
          <a:xfrm flipV="1">
            <a:off x="6880496" y="5257786"/>
            <a:ext cx="1910806" cy="984669"/>
            <a:chOff x="1013695" y="2307362"/>
            <a:chExt cx="1532549" cy="789749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032DA302-D251-1175-B215-4E9926867D94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615D3D4-8BC0-CB67-C13E-E921716154DC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978B871-DA68-4F1D-3FE4-FB6B2CEBC890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C4181C4-18FB-790C-2200-7C043C290890}"/>
                </a:ext>
              </a:extLst>
            </p:cNvPr>
            <p:cNvSpPr txBox="1"/>
            <p:nvPr/>
          </p:nvSpPr>
          <p:spPr>
            <a:xfrm flipV="1">
              <a:off x="1013695" y="2307362"/>
              <a:ext cx="1532549" cy="39496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Teacher Empowerment Hub</a:t>
              </a:r>
            </a:p>
          </p:txBody>
        </p:sp>
      </p:grpSp>
      <p:pic>
        <p:nvPicPr>
          <p:cNvPr id="78" name="Picture 77">
            <a:extLst>
              <a:ext uri="{FF2B5EF4-FFF2-40B4-BE49-F238E27FC236}">
                <a16:creationId xmlns:a16="http://schemas.microsoft.com/office/drawing/2014/main" id="{A4F0DC25-FFEE-6516-75E8-233D5EF071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8B4AB53-8572-97CB-E615-32DC1A486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96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9">
            <a:extLst>
              <a:ext uri="{FF2B5EF4-FFF2-40B4-BE49-F238E27FC236}">
                <a16:creationId xmlns:a16="http://schemas.microsoft.com/office/drawing/2014/main" id="{D26803A4-7BED-1A32-78A0-6E04760C5E3E}"/>
              </a:ext>
            </a:extLst>
          </p:cNvPr>
          <p:cNvSpPr txBox="1">
            <a:spLocks/>
          </p:cNvSpPr>
          <p:nvPr/>
        </p:nvSpPr>
        <p:spPr>
          <a:xfrm>
            <a:off x="3107788" y="360971"/>
            <a:ext cx="5976424" cy="978729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hancing our Offerings (Contd.) </a:t>
            </a:r>
          </a:p>
        </p:txBody>
      </p:sp>
      <p:sp>
        <p:nvSpPr>
          <p:cNvPr id="6" name="Freeform 14">
            <a:extLst>
              <a:ext uri="{FF2B5EF4-FFF2-40B4-BE49-F238E27FC236}">
                <a16:creationId xmlns:a16="http://schemas.microsoft.com/office/drawing/2014/main" id="{FAD1C8B1-AB6B-F1EE-0F47-8494C488CECC}"/>
              </a:ext>
            </a:extLst>
          </p:cNvPr>
          <p:cNvSpPr>
            <a:spLocks/>
          </p:cNvSpPr>
          <p:nvPr/>
        </p:nvSpPr>
        <p:spPr bwMode="auto">
          <a:xfrm>
            <a:off x="8065046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8E4873BE-4BCA-D842-3896-BAE3CC50FAE1}"/>
              </a:ext>
            </a:extLst>
          </p:cNvPr>
          <p:cNvSpPr>
            <a:spLocks/>
          </p:cNvSpPr>
          <p:nvPr/>
        </p:nvSpPr>
        <p:spPr bwMode="auto">
          <a:xfrm>
            <a:off x="6325148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Freeform 12">
            <a:extLst>
              <a:ext uri="{FF2B5EF4-FFF2-40B4-BE49-F238E27FC236}">
                <a16:creationId xmlns:a16="http://schemas.microsoft.com/office/drawing/2014/main" id="{541CED9A-BAF6-B144-7052-7613A3FA0E57}"/>
              </a:ext>
            </a:extLst>
          </p:cNvPr>
          <p:cNvSpPr>
            <a:spLocks/>
          </p:cNvSpPr>
          <p:nvPr/>
        </p:nvSpPr>
        <p:spPr bwMode="auto">
          <a:xfrm>
            <a:off x="4583897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981B1FD6-B47D-F1D5-4F6B-2E0C18F80355}"/>
              </a:ext>
            </a:extLst>
          </p:cNvPr>
          <p:cNvSpPr>
            <a:spLocks/>
          </p:cNvSpPr>
          <p:nvPr/>
        </p:nvSpPr>
        <p:spPr bwMode="auto">
          <a:xfrm>
            <a:off x="2844000" y="2782044"/>
            <a:ext cx="3021501" cy="2473982"/>
          </a:xfrm>
          <a:custGeom>
            <a:avLst/>
            <a:gdLst>
              <a:gd name="T0" fmla="*/ 472 w 945"/>
              <a:gd name="T1" fmla="*/ 0 h 772"/>
              <a:gd name="T2" fmla="*/ 325 w 945"/>
              <a:gd name="T3" fmla="*/ 83 h 772"/>
              <a:gd name="T4" fmla="*/ 42 w 945"/>
              <a:gd name="T5" fmla="*/ 512 h 772"/>
              <a:gd name="T6" fmla="*/ 29 w 945"/>
              <a:gd name="T7" fmla="*/ 687 h 772"/>
              <a:gd name="T8" fmla="*/ 182 w 945"/>
              <a:gd name="T9" fmla="*/ 772 h 772"/>
              <a:gd name="T10" fmla="*/ 763 w 945"/>
              <a:gd name="T11" fmla="*/ 772 h 772"/>
              <a:gd name="T12" fmla="*/ 916 w 945"/>
              <a:gd name="T13" fmla="*/ 687 h 772"/>
              <a:gd name="T14" fmla="*/ 903 w 945"/>
              <a:gd name="T15" fmla="*/ 512 h 772"/>
              <a:gd name="T16" fmla="*/ 620 w 945"/>
              <a:gd name="T17" fmla="*/ 83 h 772"/>
              <a:gd name="T18" fmla="*/ 472 w 945"/>
              <a:gd name="T19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5" h="772">
                <a:moveTo>
                  <a:pt x="472" y="0"/>
                </a:moveTo>
                <a:cubicBezTo>
                  <a:pt x="414" y="0"/>
                  <a:pt x="360" y="30"/>
                  <a:pt x="325" y="83"/>
                </a:cubicBezTo>
                <a:cubicBezTo>
                  <a:pt x="42" y="512"/>
                  <a:pt x="42" y="512"/>
                  <a:pt x="42" y="512"/>
                </a:cubicBezTo>
                <a:cubicBezTo>
                  <a:pt x="5" y="568"/>
                  <a:pt x="0" y="633"/>
                  <a:pt x="29" y="687"/>
                </a:cubicBezTo>
                <a:cubicBezTo>
                  <a:pt x="57" y="740"/>
                  <a:pt x="115" y="772"/>
                  <a:pt x="182" y="772"/>
                </a:cubicBezTo>
                <a:cubicBezTo>
                  <a:pt x="763" y="772"/>
                  <a:pt x="763" y="772"/>
                  <a:pt x="763" y="772"/>
                </a:cubicBezTo>
                <a:cubicBezTo>
                  <a:pt x="830" y="772"/>
                  <a:pt x="888" y="740"/>
                  <a:pt x="916" y="687"/>
                </a:cubicBezTo>
                <a:cubicBezTo>
                  <a:pt x="945" y="633"/>
                  <a:pt x="940" y="568"/>
                  <a:pt x="903" y="512"/>
                </a:cubicBezTo>
                <a:cubicBezTo>
                  <a:pt x="620" y="83"/>
                  <a:pt x="620" y="83"/>
                  <a:pt x="620" y="83"/>
                </a:cubicBezTo>
                <a:cubicBezTo>
                  <a:pt x="585" y="30"/>
                  <a:pt x="531" y="0"/>
                  <a:pt x="472" y="0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5EFA8417-0948-043A-3EFB-C500760C5EF9}"/>
              </a:ext>
            </a:extLst>
          </p:cNvPr>
          <p:cNvSpPr>
            <a:spLocks/>
          </p:cNvSpPr>
          <p:nvPr/>
        </p:nvSpPr>
        <p:spPr bwMode="auto">
          <a:xfrm>
            <a:off x="1102749" y="2782044"/>
            <a:ext cx="3024205" cy="2473982"/>
          </a:xfrm>
          <a:custGeom>
            <a:avLst/>
            <a:gdLst>
              <a:gd name="T0" fmla="*/ 473 w 946"/>
              <a:gd name="T1" fmla="*/ 772 h 772"/>
              <a:gd name="T2" fmla="*/ 325 w 946"/>
              <a:gd name="T3" fmla="*/ 688 h 772"/>
              <a:gd name="T4" fmla="*/ 42 w 946"/>
              <a:gd name="T5" fmla="*/ 260 h 772"/>
              <a:gd name="T6" fmla="*/ 29 w 946"/>
              <a:gd name="T7" fmla="*/ 85 h 772"/>
              <a:gd name="T8" fmla="*/ 182 w 946"/>
              <a:gd name="T9" fmla="*/ 0 h 772"/>
              <a:gd name="T10" fmla="*/ 764 w 946"/>
              <a:gd name="T11" fmla="*/ 0 h 772"/>
              <a:gd name="T12" fmla="*/ 917 w 946"/>
              <a:gd name="T13" fmla="*/ 85 h 772"/>
              <a:gd name="T14" fmla="*/ 904 w 946"/>
              <a:gd name="T15" fmla="*/ 260 h 772"/>
              <a:gd name="T16" fmla="*/ 621 w 946"/>
              <a:gd name="T17" fmla="*/ 688 h 772"/>
              <a:gd name="T18" fmla="*/ 473 w 946"/>
              <a:gd name="T19" fmla="*/ 772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46" h="772">
                <a:moveTo>
                  <a:pt x="473" y="772"/>
                </a:moveTo>
                <a:cubicBezTo>
                  <a:pt x="414" y="772"/>
                  <a:pt x="360" y="741"/>
                  <a:pt x="325" y="688"/>
                </a:cubicBezTo>
                <a:cubicBezTo>
                  <a:pt x="42" y="260"/>
                  <a:pt x="42" y="260"/>
                  <a:pt x="42" y="260"/>
                </a:cubicBezTo>
                <a:cubicBezTo>
                  <a:pt x="5" y="204"/>
                  <a:pt x="0" y="138"/>
                  <a:pt x="29" y="85"/>
                </a:cubicBezTo>
                <a:cubicBezTo>
                  <a:pt x="58" y="32"/>
                  <a:pt x="115" y="0"/>
                  <a:pt x="182" y="0"/>
                </a:cubicBezTo>
                <a:cubicBezTo>
                  <a:pt x="764" y="0"/>
                  <a:pt x="764" y="0"/>
                  <a:pt x="764" y="0"/>
                </a:cubicBezTo>
                <a:cubicBezTo>
                  <a:pt x="831" y="0"/>
                  <a:pt x="888" y="32"/>
                  <a:pt x="917" y="85"/>
                </a:cubicBezTo>
                <a:cubicBezTo>
                  <a:pt x="946" y="138"/>
                  <a:pt x="941" y="204"/>
                  <a:pt x="904" y="260"/>
                </a:cubicBezTo>
                <a:cubicBezTo>
                  <a:pt x="621" y="688"/>
                  <a:pt x="621" y="688"/>
                  <a:pt x="621" y="688"/>
                </a:cubicBezTo>
                <a:cubicBezTo>
                  <a:pt x="586" y="741"/>
                  <a:pt x="532" y="772"/>
                  <a:pt x="473" y="772"/>
                </a:cubicBezTo>
                <a:close/>
              </a:path>
            </a:pathLst>
          </a:custGeom>
          <a:solidFill>
            <a:srgbClr val="E7E6E6">
              <a:lumMod val="90000"/>
            </a:srgbClr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0C1829EA-ED63-79A8-D8CF-9C6953FCAFB5}"/>
              </a:ext>
            </a:extLst>
          </p:cNvPr>
          <p:cNvSpPr>
            <a:spLocks/>
          </p:cNvSpPr>
          <p:nvPr/>
        </p:nvSpPr>
        <p:spPr bwMode="auto">
          <a:xfrm>
            <a:off x="1492097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C8D3ED2A-801C-60A7-F1D4-871C47E80562}"/>
              </a:ext>
            </a:extLst>
          </p:cNvPr>
          <p:cNvSpPr>
            <a:spLocks/>
          </p:cNvSpPr>
          <p:nvPr/>
        </p:nvSpPr>
        <p:spPr bwMode="auto">
          <a:xfrm>
            <a:off x="3234699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Freeform 11">
            <a:extLst>
              <a:ext uri="{FF2B5EF4-FFF2-40B4-BE49-F238E27FC236}">
                <a16:creationId xmlns:a16="http://schemas.microsoft.com/office/drawing/2014/main" id="{44BC1C1E-17B7-9F06-9B17-ECF958EFB503}"/>
              </a:ext>
            </a:extLst>
          </p:cNvPr>
          <p:cNvSpPr>
            <a:spLocks/>
          </p:cNvSpPr>
          <p:nvPr/>
        </p:nvSpPr>
        <p:spPr bwMode="auto">
          <a:xfrm>
            <a:off x="6715848" y="3153817"/>
            <a:ext cx="2240102" cy="1702046"/>
          </a:xfrm>
          <a:custGeom>
            <a:avLst/>
            <a:gdLst>
              <a:gd name="T0" fmla="*/ 271 w 701"/>
              <a:gd name="T1" fmla="*/ 531 h 531"/>
              <a:gd name="T2" fmla="*/ 430 w 701"/>
              <a:gd name="T3" fmla="*/ 531 h 531"/>
              <a:gd name="T4" fmla="*/ 641 w 701"/>
              <a:gd name="T5" fmla="*/ 531 h 531"/>
              <a:gd name="T6" fmla="*/ 677 w 701"/>
              <a:gd name="T7" fmla="*/ 465 h 531"/>
              <a:gd name="T8" fmla="*/ 579 w 701"/>
              <a:gd name="T9" fmla="*/ 317 h 531"/>
              <a:gd name="T10" fmla="*/ 492 w 701"/>
              <a:gd name="T11" fmla="*/ 184 h 531"/>
              <a:gd name="T12" fmla="*/ 394 w 701"/>
              <a:gd name="T13" fmla="*/ 36 h 531"/>
              <a:gd name="T14" fmla="*/ 307 w 701"/>
              <a:gd name="T15" fmla="*/ 36 h 531"/>
              <a:gd name="T16" fmla="*/ 209 w 701"/>
              <a:gd name="T17" fmla="*/ 184 h 531"/>
              <a:gd name="T18" fmla="*/ 122 w 701"/>
              <a:gd name="T19" fmla="*/ 317 h 531"/>
              <a:gd name="T20" fmla="*/ 24 w 701"/>
              <a:gd name="T21" fmla="*/ 465 h 531"/>
              <a:gd name="T22" fmla="*/ 60 w 701"/>
              <a:gd name="T23" fmla="*/ 531 h 531"/>
              <a:gd name="T24" fmla="*/ 271 w 701"/>
              <a:gd name="T25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1" h="531">
                <a:moveTo>
                  <a:pt x="271" y="531"/>
                </a:moveTo>
                <a:cubicBezTo>
                  <a:pt x="315" y="531"/>
                  <a:pt x="386" y="531"/>
                  <a:pt x="430" y="531"/>
                </a:cubicBezTo>
                <a:cubicBezTo>
                  <a:pt x="641" y="531"/>
                  <a:pt x="641" y="531"/>
                  <a:pt x="641" y="531"/>
                </a:cubicBezTo>
                <a:cubicBezTo>
                  <a:pt x="685" y="531"/>
                  <a:pt x="701" y="501"/>
                  <a:pt x="677" y="465"/>
                </a:cubicBezTo>
                <a:cubicBezTo>
                  <a:pt x="579" y="317"/>
                  <a:pt x="579" y="317"/>
                  <a:pt x="579" y="317"/>
                </a:cubicBezTo>
                <a:cubicBezTo>
                  <a:pt x="555" y="280"/>
                  <a:pt x="516" y="221"/>
                  <a:pt x="492" y="184"/>
                </a:cubicBezTo>
                <a:cubicBezTo>
                  <a:pt x="394" y="36"/>
                  <a:pt x="394" y="36"/>
                  <a:pt x="394" y="36"/>
                </a:cubicBezTo>
                <a:cubicBezTo>
                  <a:pt x="370" y="0"/>
                  <a:pt x="331" y="0"/>
                  <a:pt x="307" y="36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185" y="221"/>
                  <a:pt x="146" y="280"/>
                  <a:pt x="122" y="317"/>
                </a:cubicBezTo>
                <a:cubicBezTo>
                  <a:pt x="24" y="465"/>
                  <a:pt x="24" y="465"/>
                  <a:pt x="24" y="465"/>
                </a:cubicBezTo>
                <a:cubicBezTo>
                  <a:pt x="0" y="501"/>
                  <a:pt x="16" y="531"/>
                  <a:pt x="60" y="531"/>
                </a:cubicBezTo>
                <a:lnTo>
                  <a:pt x="271" y="531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1DF5F29-E489-FA8E-BB5B-FC31982DDF68}"/>
              </a:ext>
            </a:extLst>
          </p:cNvPr>
          <p:cNvSpPr>
            <a:spLocks/>
          </p:cNvSpPr>
          <p:nvPr/>
        </p:nvSpPr>
        <p:spPr bwMode="auto">
          <a:xfrm>
            <a:off x="4973245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839BE186-443A-22EF-7693-595C078F4DBE}"/>
              </a:ext>
            </a:extLst>
          </p:cNvPr>
          <p:cNvSpPr>
            <a:spLocks/>
          </p:cNvSpPr>
          <p:nvPr/>
        </p:nvSpPr>
        <p:spPr bwMode="auto">
          <a:xfrm>
            <a:off x="8454394" y="3182207"/>
            <a:ext cx="2244157" cy="1702046"/>
          </a:xfrm>
          <a:custGeom>
            <a:avLst/>
            <a:gdLst>
              <a:gd name="T0" fmla="*/ 272 w 702"/>
              <a:gd name="T1" fmla="*/ 0 h 531"/>
              <a:gd name="T2" fmla="*/ 430 w 702"/>
              <a:gd name="T3" fmla="*/ 0 h 531"/>
              <a:gd name="T4" fmla="*/ 642 w 702"/>
              <a:gd name="T5" fmla="*/ 0 h 531"/>
              <a:gd name="T6" fmla="*/ 678 w 702"/>
              <a:gd name="T7" fmla="*/ 66 h 531"/>
              <a:gd name="T8" fmla="*/ 580 w 702"/>
              <a:gd name="T9" fmla="*/ 214 h 531"/>
              <a:gd name="T10" fmla="*/ 492 w 702"/>
              <a:gd name="T11" fmla="*/ 347 h 531"/>
              <a:gd name="T12" fmla="*/ 395 w 702"/>
              <a:gd name="T13" fmla="*/ 495 h 531"/>
              <a:gd name="T14" fmla="*/ 307 w 702"/>
              <a:gd name="T15" fmla="*/ 495 h 531"/>
              <a:gd name="T16" fmla="*/ 210 w 702"/>
              <a:gd name="T17" fmla="*/ 347 h 531"/>
              <a:gd name="T18" fmla="*/ 122 w 702"/>
              <a:gd name="T19" fmla="*/ 214 h 531"/>
              <a:gd name="T20" fmla="*/ 24 w 702"/>
              <a:gd name="T21" fmla="*/ 66 h 531"/>
              <a:gd name="T22" fmla="*/ 60 w 702"/>
              <a:gd name="T23" fmla="*/ 0 h 531"/>
              <a:gd name="T24" fmla="*/ 272 w 702"/>
              <a:gd name="T25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02" h="531">
                <a:moveTo>
                  <a:pt x="272" y="0"/>
                </a:moveTo>
                <a:cubicBezTo>
                  <a:pt x="315" y="0"/>
                  <a:pt x="387" y="0"/>
                  <a:pt x="43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85" y="0"/>
                  <a:pt x="702" y="29"/>
                  <a:pt x="678" y="66"/>
                </a:cubicBezTo>
                <a:cubicBezTo>
                  <a:pt x="580" y="214"/>
                  <a:pt x="580" y="214"/>
                  <a:pt x="580" y="214"/>
                </a:cubicBezTo>
                <a:cubicBezTo>
                  <a:pt x="556" y="251"/>
                  <a:pt x="516" y="310"/>
                  <a:pt x="492" y="347"/>
                </a:cubicBezTo>
                <a:cubicBezTo>
                  <a:pt x="395" y="495"/>
                  <a:pt x="395" y="495"/>
                  <a:pt x="395" y="495"/>
                </a:cubicBezTo>
                <a:cubicBezTo>
                  <a:pt x="371" y="531"/>
                  <a:pt x="331" y="531"/>
                  <a:pt x="307" y="495"/>
                </a:cubicBezTo>
                <a:cubicBezTo>
                  <a:pt x="210" y="347"/>
                  <a:pt x="210" y="347"/>
                  <a:pt x="210" y="347"/>
                </a:cubicBezTo>
                <a:cubicBezTo>
                  <a:pt x="186" y="310"/>
                  <a:pt x="146" y="251"/>
                  <a:pt x="122" y="214"/>
                </a:cubicBezTo>
                <a:cubicBezTo>
                  <a:pt x="24" y="66"/>
                  <a:pt x="24" y="66"/>
                  <a:pt x="24" y="66"/>
                </a:cubicBezTo>
                <a:cubicBezTo>
                  <a:pt x="0" y="29"/>
                  <a:pt x="17" y="0"/>
                  <a:pt x="60" y="0"/>
                </a:cubicBezTo>
                <a:lnTo>
                  <a:pt x="272" y="0"/>
                </a:lnTo>
                <a:close/>
              </a:path>
            </a:pathLst>
          </a:custGeom>
          <a:solidFill>
            <a:sysClr val="window" lastClr="FFFFFF"/>
          </a:solidFill>
          <a:ln w="14288" cap="flat">
            <a:noFill/>
            <a:prstDash val="solid"/>
            <a:miter lim="800000"/>
            <a:headEnd/>
            <a:tailEnd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07565DE1-A690-E4AD-AD18-F4E13CC31DA5}"/>
              </a:ext>
            </a:extLst>
          </p:cNvPr>
          <p:cNvSpPr>
            <a:spLocks/>
          </p:cNvSpPr>
          <p:nvPr/>
        </p:nvSpPr>
        <p:spPr bwMode="auto">
          <a:xfrm>
            <a:off x="3307702" y="2782044"/>
            <a:ext cx="2077873" cy="1355958"/>
          </a:xfrm>
          <a:custGeom>
            <a:avLst/>
            <a:gdLst>
              <a:gd name="T0" fmla="*/ 327 w 650"/>
              <a:gd name="T1" fmla="*/ 0 h 423"/>
              <a:gd name="T2" fmla="*/ 180 w 650"/>
              <a:gd name="T3" fmla="*/ 83 h 423"/>
              <a:gd name="T4" fmla="*/ 0 w 650"/>
              <a:gd name="T5" fmla="*/ 356 h 423"/>
              <a:gd name="T6" fmla="*/ 105 w 650"/>
              <a:gd name="T7" fmla="*/ 423 h 423"/>
              <a:gd name="T8" fmla="*/ 186 w 650"/>
              <a:gd name="T9" fmla="*/ 300 h 423"/>
              <a:gd name="T10" fmla="*/ 284 w 650"/>
              <a:gd name="T11" fmla="*/ 152 h 423"/>
              <a:gd name="T12" fmla="*/ 371 w 650"/>
              <a:gd name="T13" fmla="*/ 152 h 423"/>
              <a:gd name="T14" fmla="*/ 469 w 650"/>
              <a:gd name="T15" fmla="*/ 300 h 423"/>
              <a:gd name="T16" fmla="*/ 547 w 650"/>
              <a:gd name="T17" fmla="*/ 419 h 423"/>
              <a:gd name="T18" fmla="*/ 621 w 650"/>
              <a:gd name="T19" fmla="*/ 419 h 423"/>
              <a:gd name="T20" fmla="*/ 650 w 650"/>
              <a:gd name="T21" fmla="*/ 349 h 423"/>
              <a:gd name="T22" fmla="*/ 650 w 650"/>
              <a:gd name="T23" fmla="*/ 348 h 423"/>
              <a:gd name="T24" fmla="*/ 475 w 650"/>
              <a:gd name="T25" fmla="*/ 83 h 423"/>
              <a:gd name="T26" fmla="*/ 327 w 650"/>
              <a:gd name="T27" fmla="*/ 0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3">
                <a:moveTo>
                  <a:pt x="327" y="0"/>
                </a:moveTo>
                <a:cubicBezTo>
                  <a:pt x="269" y="0"/>
                  <a:pt x="215" y="30"/>
                  <a:pt x="180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3"/>
                  <a:pt x="105" y="423"/>
                  <a:pt x="105" y="423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6"/>
                  <a:pt x="347" y="116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1" y="419"/>
                  <a:pt x="621" y="419"/>
                  <a:pt x="621" y="419"/>
                </a:cubicBezTo>
                <a:cubicBezTo>
                  <a:pt x="650" y="349"/>
                  <a:pt x="650" y="349"/>
                  <a:pt x="650" y="34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69C1B591-252D-227E-D1A3-C5C94AECDD27}"/>
              </a:ext>
            </a:extLst>
          </p:cNvPr>
          <p:cNvSpPr>
            <a:spLocks/>
          </p:cNvSpPr>
          <p:nvPr/>
        </p:nvSpPr>
        <p:spPr bwMode="auto">
          <a:xfrm>
            <a:off x="8538211" y="3897363"/>
            <a:ext cx="2077873" cy="1351903"/>
          </a:xfrm>
          <a:custGeom>
            <a:avLst/>
            <a:gdLst>
              <a:gd name="T0" fmla="*/ 619 w 650"/>
              <a:gd name="T1" fmla="*/ 6 h 422"/>
              <a:gd name="T2" fmla="*/ 544 w 650"/>
              <a:gd name="T3" fmla="*/ 5 h 422"/>
              <a:gd name="T4" fmla="*/ 467 w 650"/>
              <a:gd name="T5" fmla="*/ 122 h 422"/>
              <a:gd name="T6" fmla="*/ 369 w 650"/>
              <a:gd name="T7" fmla="*/ 270 h 422"/>
              <a:gd name="T8" fmla="*/ 282 w 650"/>
              <a:gd name="T9" fmla="*/ 270 h 422"/>
              <a:gd name="T10" fmla="*/ 184 w 650"/>
              <a:gd name="T11" fmla="*/ 122 h 422"/>
              <a:gd name="T12" fmla="*/ 104 w 650"/>
              <a:gd name="T13" fmla="*/ 0 h 422"/>
              <a:gd name="T14" fmla="*/ 104 w 650"/>
              <a:gd name="T15" fmla="*/ 0 h 422"/>
              <a:gd name="T16" fmla="*/ 74 w 650"/>
              <a:gd name="T17" fmla="*/ 70 h 422"/>
              <a:gd name="T18" fmla="*/ 0 w 650"/>
              <a:gd name="T19" fmla="*/ 70 h 422"/>
              <a:gd name="T20" fmla="*/ 178 w 650"/>
              <a:gd name="T21" fmla="*/ 339 h 422"/>
              <a:gd name="T22" fmla="*/ 289 w 650"/>
              <a:gd name="T23" fmla="*/ 418 h 422"/>
              <a:gd name="T24" fmla="*/ 322 w 650"/>
              <a:gd name="T25" fmla="*/ 422 h 422"/>
              <a:gd name="T26" fmla="*/ 325 w 650"/>
              <a:gd name="T27" fmla="*/ 422 h 422"/>
              <a:gd name="T28" fmla="*/ 473 w 650"/>
              <a:gd name="T29" fmla="*/ 339 h 422"/>
              <a:gd name="T30" fmla="*/ 650 w 650"/>
              <a:gd name="T31" fmla="*/ 72 h 422"/>
              <a:gd name="T32" fmla="*/ 619 w 650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50" h="422">
                <a:moveTo>
                  <a:pt x="619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8" y="90"/>
                  <a:pt x="467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7"/>
                  <a:pt x="306" y="307"/>
                  <a:pt x="282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8" y="37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74" y="70"/>
                  <a:pt x="74" y="70"/>
                  <a:pt x="74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8" y="339"/>
                  <a:pt x="178" y="339"/>
                  <a:pt x="178" y="339"/>
                </a:cubicBezTo>
                <a:cubicBezTo>
                  <a:pt x="205" y="381"/>
                  <a:pt x="245" y="409"/>
                  <a:pt x="289" y="418"/>
                </a:cubicBezTo>
                <a:cubicBezTo>
                  <a:pt x="322" y="422"/>
                  <a:pt x="322" y="422"/>
                  <a:pt x="322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50" y="72"/>
                  <a:pt x="650" y="72"/>
                  <a:pt x="650" y="72"/>
                </a:cubicBezTo>
                <a:lnTo>
                  <a:pt x="619" y="6"/>
                </a:lnTo>
                <a:close/>
              </a:path>
            </a:pathLst>
          </a:custGeom>
          <a:solidFill>
            <a:srgbClr val="78D2D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Freeform 20">
            <a:extLst>
              <a:ext uri="{FF2B5EF4-FFF2-40B4-BE49-F238E27FC236}">
                <a16:creationId xmlns:a16="http://schemas.microsoft.com/office/drawing/2014/main" id="{380A2482-9921-1336-CDC1-5D33735045F4}"/>
              </a:ext>
            </a:extLst>
          </p:cNvPr>
          <p:cNvSpPr>
            <a:spLocks/>
          </p:cNvSpPr>
          <p:nvPr/>
        </p:nvSpPr>
        <p:spPr bwMode="auto">
          <a:xfrm>
            <a:off x="6788850" y="2777988"/>
            <a:ext cx="2077873" cy="1353255"/>
          </a:xfrm>
          <a:custGeom>
            <a:avLst/>
            <a:gdLst>
              <a:gd name="T0" fmla="*/ 327 w 650"/>
              <a:gd name="T1" fmla="*/ 0 h 422"/>
              <a:gd name="T2" fmla="*/ 179 w 650"/>
              <a:gd name="T3" fmla="*/ 83 h 422"/>
              <a:gd name="T4" fmla="*/ 0 w 650"/>
              <a:gd name="T5" fmla="*/ 356 h 422"/>
              <a:gd name="T6" fmla="*/ 105 w 650"/>
              <a:gd name="T7" fmla="*/ 422 h 422"/>
              <a:gd name="T8" fmla="*/ 186 w 650"/>
              <a:gd name="T9" fmla="*/ 300 h 422"/>
              <a:gd name="T10" fmla="*/ 284 w 650"/>
              <a:gd name="T11" fmla="*/ 152 h 422"/>
              <a:gd name="T12" fmla="*/ 371 w 650"/>
              <a:gd name="T13" fmla="*/ 152 h 422"/>
              <a:gd name="T14" fmla="*/ 469 w 650"/>
              <a:gd name="T15" fmla="*/ 300 h 422"/>
              <a:gd name="T16" fmla="*/ 547 w 650"/>
              <a:gd name="T17" fmla="*/ 419 h 422"/>
              <a:gd name="T18" fmla="*/ 620 w 650"/>
              <a:gd name="T19" fmla="*/ 419 h 422"/>
              <a:gd name="T20" fmla="*/ 650 w 650"/>
              <a:gd name="T21" fmla="*/ 348 h 422"/>
              <a:gd name="T22" fmla="*/ 650 w 650"/>
              <a:gd name="T23" fmla="*/ 348 h 422"/>
              <a:gd name="T24" fmla="*/ 475 w 650"/>
              <a:gd name="T25" fmla="*/ 83 h 422"/>
              <a:gd name="T26" fmla="*/ 327 w 650"/>
              <a:gd name="T27" fmla="*/ 0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" h="422">
                <a:moveTo>
                  <a:pt x="327" y="0"/>
                </a:moveTo>
                <a:cubicBezTo>
                  <a:pt x="268" y="0"/>
                  <a:pt x="214" y="30"/>
                  <a:pt x="179" y="83"/>
                </a:cubicBezTo>
                <a:cubicBezTo>
                  <a:pt x="0" y="356"/>
                  <a:pt x="0" y="356"/>
                  <a:pt x="0" y="356"/>
                </a:cubicBezTo>
                <a:cubicBezTo>
                  <a:pt x="105" y="422"/>
                  <a:pt x="105" y="422"/>
                  <a:pt x="105" y="422"/>
                </a:cubicBezTo>
                <a:cubicBezTo>
                  <a:pt x="129" y="386"/>
                  <a:pt x="164" y="333"/>
                  <a:pt x="186" y="300"/>
                </a:cubicBezTo>
                <a:cubicBezTo>
                  <a:pt x="284" y="152"/>
                  <a:pt x="284" y="152"/>
                  <a:pt x="284" y="152"/>
                </a:cubicBezTo>
                <a:cubicBezTo>
                  <a:pt x="308" y="115"/>
                  <a:pt x="347" y="115"/>
                  <a:pt x="371" y="152"/>
                </a:cubicBezTo>
                <a:cubicBezTo>
                  <a:pt x="469" y="300"/>
                  <a:pt x="469" y="300"/>
                  <a:pt x="469" y="300"/>
                </a:cubicBezTo>
                <a:cubicBezTo>
                  <a:pt x="490" y="332"/>
                  <a:pt x="523" y="382"/>
                  <a:pt x="547" y="419"/>
                </a:cubicBezTo>
                <a:cubicBezTo>
                  <a:pt x="620" y="419"/>
                  <a:pt x="620" y="419"/>
                  <a:pt x="620" y="419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650" y="348"/>
                  <a:pt x="650" y="348"/>
                  <a:pt x="650" y="348"/>
                </a:cubicBezTo>
                <a:cubicBezTo>
                  <a:pt x="475" y="83"/>
                  <a:pt x="475" y="83"/>
                  <a:pt x="475" y="83"/>
                </a:cubicBezTo>
                <a:cubicBezTo>
                  <a:pt x="440" y="30"/>
                  <a:pt x="386" y="0"/>
                  <a:pt x="327" y="0"/>
                </a:cubicBez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767D2722-521D-DAB3-1A3F-3B47129A2C3C}"/>
              </a:ext>
            </a:extLst>
          </p:cNvPr>
          <p:cNvSpPr>
            <a:spLocks/>
          </p:cNvSpPr>
          <p:nvPr/>
        </p:nvSpPr>
        <p:spPr bwMode="auto">
          <a:xfrm>
            <a:off x="1575916" y="3902770"/>
            <a:ext cx="2073817" cy="1353255"/>
          </a:xfrm>
          <a:custGeom>
            <a:avLst/>
            <a:gdLst>
              <a:gd name="T0" fmla="*/ 619 w 649"/>
              <a:gd name="T1" fmla="*/ 5 h 422"/>
              <a:gd name="T2" fmla="*/ 544 w 649"/>
              <a:gd name="T3" fmla="*/ 4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4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8 h 422"/>
              <a:gd name="T22" fmla="*/ 289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8 h 422"/>
              <a:gd name="T30" fmla="*/ 649 w 649"/>
              <a:gd name="T31" fmla="*/ 71 h 422"/>
              <a:gd name="T32" fmla="*/ 619 w 649"/>
              <a:gd name="T33" fmla="*/ 5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9" y="5"/>
                </a:moveTo>
                <a:cubicBezTo>
                  <a:pt x="544" y="4"/>
                  <a:pt x="544" y="4"/>
                  <a:pt x="544" y="4"/>
                </a:cubicBezTo>
                <a:cubicBezTo>
                  <a:pt x="520" y="40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5" y="306"/>
                  <a:pt x="305" y="306"/>
                  <a:pt x="281" y="270"/>
                </a:cubicBezTo>
                <a:cubicBezTo>
                  <a:pt x="184" y="122"/>
                  <a:pt x="184" y="122"/>
                  <a:pt x="184" y="122"/>
                </a:cubicBezTo>
                <a:cubicBezTo>
                  <a:pt x="162" y="89"/>
                  <a:pt x="127" y="36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8"/>
                  <a:pt x="177" y="338"/>
                  <a:pt x="177" y="338"/>
                </a:cubicBezTo>
                <a:cubicBezTo>
                  <a:pt x="205" y="380"/>
                  <a:pt x="244" y="408"/>
                  <a:pt x="289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3" y="422"/>
                  <a:pt x="324" y="422"/>
                  <a:pt x="325" y="422"/>
                </a:cubicBezTo>
                <a:cubicBezTo>
                  <a:pt x="384" y="422"/>
                  <a:pt x="438" y="391"/>
                  <a:pt x="473" y="338"/>
                </a:cubicBezTo>
                <a:cubicBezTo>
                  <a:pt x="649" y="71"/>
                  <a:pt x="649" y="71"/>
                  <a:pt x="649" y="71"/>
                </a:cubicBezTo>
                <a:lnTo>
                  <a:pt x="619" y="5"/>
                </a:lnTo>
                <a:close/>
              </a:path>
            </a:pathLst>
          </a:custGeom>
          <a:solidFill>
            <a:srgbClr val="E2583D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Freeform 18">
            <a:extLst>
              <a:ext uri="{FF2B5EF4-FFF2-40B4-BE49-F238E27FC236}">
                <a16:creationId xmlns:a16="http://schemas.microsoft.com/office/drawing/2014/main" id="{4D4F04BF-8D9D-04B0-9B35-BF7402C32E39}"/>
              </a:ext>
            </a:extLst>
          </p:cNvPr>
          <p:cNvSpPr>
            <a:spLocks/>
          </p:cNvSpPr>
          <p:nvPr/>
        </p:nvSpPr>
        <p:spPr bwMode="auto">
          <a:xfrm>
            <a:off x="5057063" y="3897363"/>
            <a:ext cx="2073817" cy="1351903"/>
          </a:xfrm>
          <a:custGeom>
            <a:avLst/>
            <a:gdLst>
              <a:gd name="T0" fmla="*/ 618 w 649"/>
              <a:gd name="T1" fmla="*/ 6 h 422"/>
              <a:gd name="T2" fmla="*/ 544 w 649"/>
              <a:gd name="T3" fmla="*/ 5 h 422"/>
              <a:gd name="T4" fmla="*/ 466 w 649"/>
              <a:gd name="T5" fmla="*/ 122 h 422"/>
              <a:gd name="T6" fmla="*/ 369 w 649"/>
              <a:gd name="T7" fmla="*/ 270 h 422"/>
              <a:gd name="T8" fmla="*/ 281 w 649"/>
              <a:gd name="T9" fmla="*/ 270 h 422"/>
              <a:gd name="T10" fmla="*/ 183 w 649"/>
              <a:gd name="T11" fmla="*/ 122 h 422"/>
              <a:gd name="T12" fmla="*/ 103 w 649"/>
              <a:gd name="T13" fmla="*/ 0 h 422"/>
              <a:gd name="T14" fmla="*/ 103 w 649"/>
              <a:gd name="T15" fmla="*/ 0 h 422"/>
              <a:gd name="T16" fmla="*/ 73 w 649"/>
              <a:gd name="T17" fmla="*/ 70 h 422"/>
              <a:gd name="T18" fmla="*/ 0 w 649"/>
              <a:gd name="T19" fmla="*/ 70 h 422"/>
              <a:gd name="T20" fmla="*/ 177 w 649"/>
              <a:gd name="T21" fmla="*/ 339 h 422"/>
              <a:gd name="T22" fmla="*/ 288 w 649"/>
              <a:gd name="T23" fmla="*/ 418 h 422"/>
              <a:gd name="T24" fmla="*/ 321 w 649"/>
              <a:gd name="T25" fmla="*/ 422 h 422"/>
              <a:gd name="T26" fmla="*/ 325 w 649"/>
              <a:gd name="T27" fmla="*/ 422 h 422"/>
              <a:gd name="T28" fmla="*/ 473 w 649"/>
              <a:gd name="T29" fmla="*/ 339 h 422"/>
              <a:gd name="T30" fmla="*/ 649 w 649"/>
              <a:gd name="T31" fmla="*/ 72 h 422"/>
              <a:gd name="T32" fmla="*/ 618 w 649"/>
              <a:gd name="T33" fmla="*/ 6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9" h="422">
                <a:moveTo>
                  <a:pt x="618" y="6"/>
                </a:moveTo>
                <a:cubicBezTo>
                  <a:pt x="544" y="5"/>
                  <a:pt x="544" y="5"/>
                  <a:pt x="544" y="5"/>
                </a:cubicBezTo>
                <a:cubicBezTo>
                  <a:pt x="520" y="41"/>
                  <a:pt x="487" y="90"/>
                  <a:pt x="466" y="122"/>
                </a:cubicBezTo>
                <a:cubicBezTo>
                  <a:pt x="369" y="270"/>
                  <a:pt x="369" y="270"/>
                  <a:pt x="369" y="270"/>
                </a:cubicBezTo>
                <a:cubicBezTo>
                  <a:pt x="344" y="307"/>
                  <a:pt x="305" y="307"/>
                  <a:pt x="281" y="270"/>
                </a:cubicBezTo>
                <a:cubicBezTo>
                  <a:pt x="183" y="122"/>
                  <a:pt x="183" y="122"/>
                  <a:pt x="183" y="122"/>
                </a:cubicBezTo>
                <a:cubicBezTo>
                  <a:pt x="162" y="89"/>
                  <a:pt x="127" y="37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73" y="70"/>
                  <a:pt x="73" y="70"/>
                  <a:pt x="73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177" y="339"/>
                  <a:pt x="177" y="339"/>
                  <a:pt x="177" y="339"/>
                </a:cubicBezTo>
                <a:cubicBezTo>
                  <a:pt x="205" y="381"/>
                  <a:pt x="244" y="409"/>
                  <a:pt x="288" y="418"/>
                </a:cubicBezTo>
                <a:cubicBezTo>
                  <a:pt x="321" y="422"/>
                  <a:pt x="321" y="422"/>
                  <a:pt x="321" y="422"/>
                </a:cubicBezTo>
                <a:cubicBezTo>
                  <a:pt x="322" y="422"/>
                  <a:pt x="324" y="422"/>
                  <a:pt x="325" y="422"/>
                </a:cubicBezTo>
                <a:cubicBezTo>
                  <a:pt x="384" y="422"/>
                  <a:pt x="438" y="392"/>
                  <a:pt x="473" y="339"/>
                </a:cubicBezTo>
                <a:cubicBezTo>
                  <a:pt x="649" y="72"/>
                  <a:pt x="649" y="72"/>
                  <a:pt x="649" y="72"/>
                </a:cubicBezTo>
                <a:lnTo>
                  <a:pt x="618" y="6"/>
                </a:lnTo>
                <a:close/>
              </a:path>
            </a:pathLst>
          </a:custGeom>
          <a:solidFill>
            <a:srgbClr val="3B3939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9E6DE00-C4FA-3A51-6C18-889C752F435B}"/>
              </a:ext>
            </a:extLst>
          </p:cNvPr>
          <p:cNvGrpSpPr>
            <a:grpSpLocks noChangeAspect="1"/>
          </p:cNvGrpSpPr>
          <p:nvPr/>
        </p:nvGrpSpPr>
        <p:grpSpPr>
          <a:xfrm>
            <a:off x="2417564" y="3810951"/>
            <a:ext cx="393224" cy="448854"/>
            <a:chOff x="2005013" y="1858963"/>
            <a:chExt cx="325437" cy="371476"/>
          </a:xfrm>
          <a:solidFill>
            <a:srgbClr val="E2583D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7772A681-EA9C-2DE1-128A-BB0A4C2F0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1050" y="1905001"/>
              <a:ext cx="231775" cy="233363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4 h 60"/>
                <a:gd name="T12" fmla="*/ 4 w 60"/>
                <a:gd name="T13" fmla="*/ 30 h 60"/>
                <a:gd name="T14" fmla="*/ 30 w 60"/>
                <a:gd name="T15" fmla="*/ 56 h 60"/>
                <a:gd name="T16" fmla="*/ 56 w 60"/>
                <a:gd name="T17" fmla="*/ 30 h 60"/>
                <a:gd name="T18" fmla="*/ 30 w 60"/>
                <a:gd name="T19" fmla="*/ 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4"/>
                  </a:moveTo>
                  <a:cubicBezTo>
                    <a:pt x="16" y="4"/>
                    <a:pt x="4" y="16"/>
                    <a:pt x="4" y="30"/>
                  </a:cubicBezTo>
                  <a:cubicBezTo>
                    <a:pt x="4" y="44"/>
                    <a:pt x="16" y="56"/>
                    <a:pt x="30" y="56"/>
                  </a:cubicBezTo>
                  <a:cubicBezTo>
                    <a:pt x="44" y="56"/>
                    <a:pt x="56" y="44"/>
                    <a:pt x="56" y="30"/>
                  </a:cubicBezTo>
                  <a:cubicBezTo>
                    <a:pt x="56" y="16"/>
                    <a:pt x="44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95B6ABB0-E37D-F3C0-25F2-9F20AD567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963" y="2122488"/>
              <a:ext cx="107950" cy="46038"/>
            </a:xfrm>
            <a:custGeom>
              <a:avLst/>
              <a:gdLst>
                <a:gd name="T0" fmla="*/ 26 w 28"/>
                <a:gd name="T1" fmla="*/ 12 h 12"/>
                <a:gd name="T2" fmla="*/ 2 w 28"/>
                <a:gd name="T3" fmla="*/ 12 h 12"/>
                <a:gd name="T4" fmla="*/ 0 w 28"/>
                <a:gd name="T5" fmla="*/ 10 h 12"/>
                <a:gd name="T6" fmla="*/ 0 w 28"/>
                <a:gd name="T7" fmla="*/ 0 h 12"/>
                <a:gd name="T8" fmla="*/ 4 w 28"/>
                <a:gd name="T9" fmla="*/ 0 h 12"/>
                <a:gd name="T10" fmla="*/ 4 w 28"/>
                <a:gd name="T11" fmla="*/ 8 h 12"/>
                <a:gd name="T12" fmla="*/ 24 w 28"/>
                <a:gd name="T13" fmla="*/ 8 h 12"/>
                <a:gd name="T14" fmla="*/ 24 w 28"/>
                <a:gd name="T15" fmla="*/ 0 h 12"/>
                <a:gd name="T16" fmla="*/ 28 w 28"/>
                <a:gd name="T17" fmla="*/ 0 h 12"/>
                <a:gd name="T18" fmla="*/ 28 w 28"/>
                <a:gd name="T19" fmla="*/ 10 h 12"/>
                <a:gd name="T20" fmla="*/ 26 w 28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2">
                  <a:moveTo>
                    <a:pt x="26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7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B5D5ED56-8A4A-52FD-FBEC-1DCF2EA81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838" y="2152651"/>
              <a:ext cx="76200" cy="47625"/>
            </a:xfrm>
            <a:custGeom>
              <a:avLst/>
              <a:gdLst>
                <a:gd name="T0" fmla="*/ 18 w 20"/>
                <a:gd name="T1" fmla="*/ 12 h 12"/>
                <a:gd name="T2" fmla="*/ 2 w 20"/>
                <a:gd name="T3" fmla="*/ 12 h 12"/>
                <a:gd name="T4" fmla="*/ 0 w 20"/>
                <a:gd name="T5" fmla="*/ 10 h 12"/>
                <a:gd name="T6" fmla="*/ 0 w 20"/>
                <a:gd name="T7" fmla="*/ 2 h 12"/>
                <a:gd name="T8" fmla="*/ 2 w 20"/>
                <a:gd name="T9" fmla="*/ 0 h 12"/>
                <a:gd name="T10" fmla="*/ 18 w 20"/>
                <a:gd name="T11" fmla="*/ 0 h 12"/>
                <a:gd name="T12" fmla="*/ 20 w 20"/>
                <a:gd name="T13" fmla="*/ 2 h 12"/>
                <a:gd name="T14" fmla="*/ 20 w 20"/>
                <a:gd name="T15" fmla="*/ 10 h 12"/>
                <a:gd name="T16" fmla="*/ 18 w 20"/>
                <a:gd name="T17" fmla="*/ 12 h 12"/>
                <a:gd name="T18" fmla="*/ 4 w 20"/>
                <a:gd name="T19" fmla="*/ 8 h 12"/>
                <a:gd name="T20" fmla="*/ 16 w 20"/>
                <a:gd name="T21" fmla="*/ 8 h 12"/>
                <a:gd name="T22" fmla="*/ 16 w 20"/>
                <a:gd name="T23" fmla="*/ 4 h 12"/>
                <a:gd name="T24" fmla="*/ 4 w 20"/>
                <a:gd name="T25" fmla="*/ 4 h 12"/>
                <a:gd name="T26" fmla="*/ 4 w 20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2">
                  <a:moveTo>
                    <a:pt x="18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19" y="12"/>
                    <a:pt x="18" y="12"/>
                  </a:cubicBezTo>
                  <a:close/>
                  <a:moveTo>
                    <a:pt x="4" y="8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71F7B906-47DE-B5A6-0B50-8CB6349C3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0" y="2184401"/>
              <a:ext cx="15875" cy="46038"/>
            </a:xfrm>
            <a:custGeom>
              <a:avLst/>
              <a:gdLst>
                <a:gd name="T0" fmla="*/ 2 w 4"/>
                <a:gd name="T1" fmla="*/ 12 h 12"/>
                <a:gd name="T2" fmla="*/ 0 w 4"/>
                <a:gd name="T3" fmla="*/ 10 h 12"/>
                <a:gd name="T4" fmla="*/ 0 w 4"/>
                <a:gd name="T5" fmla="*/ 2 h 12"/>
                <a:gd name="T6" fmla="*/ 2 w 4"/>
                <a:gd name="T7" fmla="*/ 0 h 12"/>
                <a:gd name="T8" fmla="*/ 4 w 4"/>
                <a:gd name="T9" fmla="*/ 2 h 12"/>
                <a:gd name="T10" fmla="*/ 4 w 4"/>
                <a:gd name="T11" fmla="*/ 10 h 12"/>
                <a:gd name="T12" fmla="*/ 2 w 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8F3C03F2-BC3C-1D64-84F9-8BC9EF003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000" y="1858963"/>
              <a:ext cx="15875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30CE4639-1130-7F69-22D3-F1CA4463F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8" y="1905001"/>
              <a:ext cx="26987" cy="26988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1 w 7"/>
                <a:gd name="T5" fmla="*/ 3 h 7"/>
                <a:gd name="T6" fmla="*/ 4 w 7"/>
                <a:gd name="T7" fmla="*/ 0 h 7"/>
                <a:gd name="T8" fmla="*/ 7 w 7"/>
                <a:gd name="T9" fmla="*/ 0 h 7"/>
                <a:gd name="T10" fmla="*/ 7 w 7"/>
                <a:gd name="T11" fmla="*/ 3 h 7"/>
                <a:gd name="T12" fmla="*/ 4 w 7"/>
                <a:gd name="T13" fmla="*/ 6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2" y="7"/>
                    <a:pt x="1" y="6"/>
                    <a:pt x="1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32">
              <a:extLst>
                <a:ext uri="{FF2B5EF4-FFF2-40B4-BE49-F238E27FC236}">
                  <a16:creationId xmlns:a16="http://schemas.microsoft.com/office/drawing/2014/main" id="{02B1FD37-38CC-EE93-136E-CBB895AD1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0" y="2014538"/>
              <a:ext cx="31750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E2B86B16-7BB5-2CC4-99F6-EF3FE14C9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8" y="2109788"/>
              <a:ext cx="26987" cy="28575"/>
            </a:xfrm>
            <a:custGeom>
              <a:avLst/>
              <a:gdLst>
                <a:gd name="T0" fmla="*/ 5 w 7"/>
                <a:gd name="T1" fmla="*/ 7 h 7"/>
                <a:gd name="T2" fmla="*/ 4 w 7"/>
                <a:gd name="T3" fmla="*/ 7 h 7"/>
                <a:gd name="T4" fmla="*/ 1 w 7"/>
                <a:gd name="T5" fmla="*/ 4 h 7"/>
                <a:gd name="T6" fmla="*/ 1 w 7"/>
                <a:gd name="T7" fmla="*/ 1 h 7"/>
                <a:gd name="T8" fmla="*/ 4 w 7"/>
                <a:gd name="T9" fmla="*/ 1 h 7"/>
                <a:gd name="T10" fmla="*/ 7 w 7"/>
                <a:gd name="T11" fmla="*/ 4 h 7"/>
                <a:gd name="T12" fmla="*/ 7 w 7"/>
                <a:gd name="T13" fmla="*/ 7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5" y="7"/>
                    <a:pt x="4" y="7"/>
                    <a:pt x="4" y="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6"/>
                    <a:pt x="7" y="7"/>
                  </a:cubicBezTo>
                  <a:cubicBezTo>
                    <a:pt x="6" y="7"/>
                    <a:pt x="6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Freeform 34">
              <a:extLst>
                <a:ext uri="{FF2B5EF4-FFF2-40B4-BE49-F238E27FC236}">
                  <a16:creationId xmlns:a16="http://schemas.microsoft.com/office/drawing/2014/main" id="{DE587A00-F9EE-0E21-E380-2830758C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050" y="1905001"/>
              <a:ext cx="26987" cy="26988"/>
            </a:xfrm>
            <a:custGeom>
              <a:avLst/>
              <a:gdLst>
                <a:gd name="T0" fmla="*/ 5 w 7"/>
                <a:gd name="T1" fmla="*/ 7 h 7"/>
                <a:gd name="T2" fmla="*/ 3 w 7"/>
                <a:gd name="T3" fmla="*/ 6 h 7"/>
                <a:gd name="T4" fmla="*/ 0 w 7"/>
                <a:gd name="T5" fmla="*/ 3 h 7"/>
                <a:gd name="T6" fmla="*/ 0 w 7"/>
                <a:gd name="T7" fmla="*/ 0 h 7"/>
                <a:gd name="T8" fmla="*/ 3 w 7"/>
                <a:gd name="T9" fmla="*/ 0 h 7"/>
                <a:gd name="T10" fmla="*/ 6 w 7"/>
                <a:gd name="T11" fmla="*/ 3 h 7"/>
                <a:gd name="T12" fmla="*/ 6 w 7"/>
                <a:gd name="T13" fmla="*/ 6 h 7"/>
                <a:gd name="T14" fmla="*/ 5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cubicBezTo>
                    <a:pt x="4" y="7"/>
                    <a:pt x="4" y="6"/>
                    <a:pt x="3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Freeform 35">
              <a:extLst>
                <a:ext uri="{FF2B5EF4-FFF2-40B4-BE49-F238E27FC236}">
                  <a16:creationId xmlns:a16="http://schemas.microsoft.com/office/drawing/2014/main" id="{01A6B205-0EC8-2AB6-F787-16B100C01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013" y="2014538"/>
              <a:ext cx="30162" cy="14288"/>
            </a:xfrm>
            <a:custGeom>
              <a:avLst/>
              <a:gdLst>
                <a:gd name="T0" fmla="*/ 6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Freeform 36">
              <a:extLst>
                <a:ext uri="{FF2B5EF4-FFF2-40B4-BE49-F238E27FC236}">
                  <a16:creationId xmlns:a16="http://schemas.microsoft.com/office/drawing/2014/main" id="{90522006-47D7-2B9E-F00A-FA54D0B40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050" y="2109788"/>
              <a:ext cx="26987" cy="28575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7 h 7"/>
                <a:gd name="T4" fmla="*/ 0 w 7"/>
                <a:gd name="T5" fmla="*/ 4 h 7"/>
                <a:gd name="T6" fmla="*/ 3 w 7"/>
                <a:gd name="T7" fmla="*/ 1 h 7"/>
                <a:gd name="T8" fmla="*/ 6 w 7"/>
                <a:gd name="T9" fmla="*/ 1 h 7"/>
                <a:gd name="T10" fmla="*/ 6 w 7"/>
                <a:gd name="T11" fmla="*/ 4 h 7"/>
                <a:gd name="T12" fmla="*/ 3 w 7"/>
                <a:gd name="T13" fmla="*/ 7 h 7"/>
                <a:gd name="T14" fmla="*/ 2 w 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37">
              <a:extLst>
                <a:ext uri="{FF2B5EF4-FFF2-40B4-BE49-F238E27FC236}">
                  <a16:creationId xmlns:a16="http://schemas.microsoft.com/office/drawing/2014/main" id="{1BD6E3BF-A0C0-8AD2-7564-6C24729B5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7088" y="2014538"/>
              <a:ext cx="139700" cy="115888"/>
            </a:xfrm>
            <a:custGeom>
              <a:avLst/>
              <a:gdLst>
                <a:gd name="T0" fmla="*/ 20 w 36"/>
                <a:gd name="T1" fmla="*/ 30 h 30"/>
                <a:gd name="T2" fmla="*/ 20 w 36"/>
                <a:gd name="T3" fmla="*/ 30 h 30"/>
                <a:gd name="T4" fmla="*/ 18 w 36"/>
                <a:gd name="T5" fmla="*/ 28 h 30"/>
                <a:gd name="T6" fmla="*/ 16 w 36"/>
                <a:gd name="T7" fmla="*/ 30 h 30"/>
                <a:gd name="T8" fmla="*/ 14 w 36"/>
                <a:gd name="T9" fmla="*/ 28 h 30"/>
                <a:gd name="T10" fmla="*/ 10 w 36"/>
                <a:gd name="T11" fmla="*/ 12 h 30"/>
                <a:gd name="T12" fmla="*/ 6 w 36"/>
                <a:gd name="T13" fmla="*/ 12 h 30"/>
                <a:gd name="T14" fmla="*/ 0 w 36"/>
                <a:gd name="T15" fmla="*/ 6 h 30"/>
                <a:gd name="T16" fmla="*/ 6 w 36"/>
                <a:gd name="T17" fmla="*/ 0 h 30"/>
                <a:gd name="T18" fmla="*/ 13 w 36"/>
                <a:gd name="T19" fmla="*/ 5 h 30"/>
                <a:gd name="T20" fmla="*/ 13 w 36"/>
                <a:gd name="T21" fmla="*/ 8 h 30"/>
                <a:gd name="T22" fmla="*/ 23 w 36"/>
                <a:gd name="T23" fmla="*/ 8 h 30"/>
                <a:gd name="T24" fmla="*/ 23 w 36"/>
                <a:gd name="T25" fmla="*/ 5 h 30"/>
                <a:gd name="T26" fmla="*/ 30 w 36"/>
                <a:gd name="T27" fmla="*/ 0 h 30"/>
                <a:gd name="T28" fmla="*/ 36 w 36"/>
                <a:gd name="T29" fmla="*/ 6 h 30"/>
                <a:gd name="T30" fmla="*/ 30 w 36"/>
                <a:gd name="T31" fmla="*/ 12 h 30"/>
                <a:gd name="T32" fmla="*/ 26 w 36"/>
                <a:gd name="T33" fmla="*/ 12 h 30"/>
                <a:gd name="T34" fmla="*/ 22 w 36"/>
                <a:gd name="T35" fmla="*/ 28 h 30"/>
                <a:gd name="T36" fmla="*/ 20 w 36"/>
                <a:gd name="T37" fmla="*/ 30 h 30"/>
                <a:gd name="T38" fmla="*/ 14 w 36"/>
                <a:gd name="T39" fmla="*/ 12 h 30"/>
                <a:gd name="T40" fmla="*/ 18 w 36"/>
                <a:gd name="T41" fmla="*/ 28 h 30"/>
                <a:gd name="T42" fmla="*/ 18 w 36"/>
                <a:gd name="T43" fmla="*/ 28 h 30"/>
                <a:gd name="T44" fmla="*/ 18 w 36"/>
                <a:gd name="T45" fmla="*/ 28 h 30"/>
                <a:gd name="T46" fmla="*/ 22 w 36"/>
                <a:gd name="T47" fmla="*/ 12 h 30"/>
                <a:gd name="T48" fmla="*/ 14 w 36"/>
                <a:gd name="T49" fmla="*/ 12 h 30"/>
                <a:gd name="T50" fmla="*/ 27 w 36"/>
                <a:gd name="T51" fmla="*/ 8 h 30"/>
                <a:gd name="T52" fmla="*/ 30 w 36"/>
                <a:gd name="T53" fmla="*/ 8 h 30"/>
                <a:gd name="T54" fmla="*/ 32 w 36"/>
                <a:gd name="T55" fmla="*/ 6 h 30"/>
                <a:gd name="T56" fmla="*/ 30 w 36"/>
                <a:gd name="T57" fmla="*/ 4 h 30"/>
                <a:gd name="T58" fmla="*/ 27 w 36"/>
                <a:gd name="T59" fmla="*/ 6 h 30"/>
                <a:gd name="T60" fmla="*/ 27 w 36"/>
                <a:gd name="T61" fmla="*/ 8 h 30"/>
                <a:gd name="T62" fmla="*/ 6 w 36"/>
                <a:gd name="T63" fmla="*/ 4 h 30"/>
                <a:gd name="T64" fmla="*/ 4 w 36"/>
                <a:gd name="T65" fmla="*/ 6 h 30"/>
                <a:gd name="T66" fmla="*/ 6 w 36"/>
                <a:gd name="T67" fmla="*/ 8 h 30"/>
                <a:gd name="T68" fmla="*/ 9 w 36"/>
                <a:gd name="T69" fmla="*/ 8 h 30"/>
                <a:gd name="T70" fmla="*/ 9 w 36"/>
                <a:gd name="T71" fmla="*/ 6 h 30"/>
                <a:gd name="T72" fmla="*/ 6 w 36"/>
                <a:gd name="T73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30"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8" y="29"/>
                    <a:pt x="18" y="28"/>
                  </a:cubicBezTo>
                  <a:cubicBezTo>
                    <a:pt x="18" y="29"/>
                    <a:pt x="17" y="30"/>
                    <a:pt x="16" y="30"/>
                  </a:cubicBezTo>
                  <a:cubicBezTo>
                    <a:pt x="15" y="30"/>
                    <a:pt x="14" y="30"/>
                    <a:pt x="14" y="28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2"/>
                    <a:pt x="27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9"/>
                    <a:pt x="21" y="30"/>
                    <a:pt x="20" y="30"/>
                  </a:cubicBezTo>
                  <a:close/>
                  <a:moveTo>
                    <a:pt x="14" y="12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2" y="12"/>
                    <a:pt x="22" y="12"/>
                    <a:pt x="22" y="12"/>
                  </a:cubicBezTo>
                  <a:lnTo>
                    <a:pt x="14" y="12"/>
                  </a:lnTo>
                  <a:close/>
                  <a:moveTo>
                    <a:pt x="27" y="8"/>
                  </a:move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2" y="7"/>
                    <a:pt x="32" y="6"/>
                  </a:cubicBezTo>
                  <a:cubicBezTo>
                    <a:pt x="32" y="5"/>
                    <a:pt x="31" y="4"/>
                    <a:pt x="30" y="4"/>
                  </a:cubicBezTo>
                  <a:cubicBezTo>
                    <a:pt x="29" y="4"/>
                    <a:pt x="27" y="5"/>
                    <a:pt x="27" y="6"/>
                  </a:cubicBezTo>
                  <a:lnTo>
                    <a:pt x="27" y="8"/>
                  </a:ln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3C2030D-61F6-7D9F-1F42-75B876DA9263}"/>
              </a:ext>
            </a:extLst>
          </p:cNvPr>
          <p:cNvGrpSpPr>
            <a:grpSpLocks noChangeAspect="1"/>
          </p:cNvGrpSpPr>
          <p:nvPr/>
        </p:nvGrpSpPr>
        <p:grpSpPr>
          <a:xfrm>
            <a:off x="4130323" y="3810951"/>
            <a:ext cx="448854" cy="448854"/>
            <a:chOff x="3903073" y="3496769"/>
            <a:chExt cx="360000" cy="360000"/>
          </a:xfrm>
          <a:solidFill>
            <a:srgbClr val="78D2D2"/>
          </a:solidFill>
        </p:grpSpPr>
        <p:sp>
          <p:nvSpPr>
            <p:cNvPr id="39" name="Freeform 79">
              <a:extLst>
                <a:ext uri="{FF2B5EF4-FFF2-40B4-BE49-F238E27FC236}">
                  <a16:creationId xmlns:a16="http://schemas.microsoft.com/office/drawing/2014/main" id="{90BD53E0-36D7-CA25-ED0D-1346CDFAA3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3073" y="3496769"/>
              <a:ext cx="255385" cy="255385"/>
            </a:xfrm>
            <a:custGeom>
              <a:avLst/>
              <a:gdLst>
                <a:gd name="T0" fmla="*/ 34 w 68"/>
                <a:gd name="T1" fmla="*/ 68 h 68"/>
                <a:gd name="T2" fmla="*/ 0 w 68"/>
                <a:gd name="T3" fmla="*/ 34 h 68"/>
                <a:gd name="T4" fmla="*/ 34 w 68"/>
                <a:gd name="T5" fmla="*/ 0 h 68"/>
                <a:gd name="T6" fmla="*/ 68 w 68"/>
                <a:gd name="T7" fmla="*/ 34 h 68"/>
                <a:gd name="T8" fmla="*/ 34 w 68"/>
                <a:gd name="T9" fmla="*/ 68 h 68"/>
                <a:gd name="T10" fmla="*/ 34 w 68"/>
                <a:gd name="T11" fmla="*/ 4 h 68"/>
                <a:gd name="T12" fmla="*/ 4 w 68"/>
                <a:gd name="T13" fmla="*/ 34 h 68"/>
                <a:gd name="T14" fmla="*/ 34 w 68"/>
                <a:gd name="T15" fmla="*/ 64 h 68"/>
                <a:gd name="T16" fmla="*/ 64 w 68"/>
                <a:gd name="T17" fmla="*/ 34 h 68"/>
                <a:gd name="T18" fmla="*/ 34 w 68"/>
                <a:gd name="T1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  <a:close/>
                  <a:moveTo>
                    <a:pt x="34" y="4"/>
                  </a:moveTo>
                  <a:cubicBezTo>
                    <a:pt x="17" y="4"/>
                    <a:pt x="4" y="17"/>
                    <a:pt x="4" y="34"/>
                  </a:cubicBezTo>
                  <a:cubicBezTo>
                    <a:pt x="4" y="51"/>
                    <a:pt x="17" y="64"/>
                    <a:pt x="34" y="64"/>
                  </a:cubicBezTo>
                  <a:cubicBezTo>
                    <a:pt x="51" y="64"/>
                    <a:pt x="64" y="51"/>
                    <a:pt x="64" y="34"/>
                  </a:cubicBezTo>
                  <a:cubicBezTo>
                    <a:pt x="64" y="17"/>
                    <a:pt x="51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Freeform 80">
              <a:extLst>
                <a:ext uri="{FF2B5EF4-FFF2-40B4-BE49-F238E27FC236}">
                  <a16:creationId xmlns:a16="http://schemas.microsoft.com/office/drawing/2014/main" id="{14CD87DD-E585-F18E-96A4-245DD9F45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150" y="3699846"/>
              <a:ext cx="156923" cy="156923"/>
            </a:xfrm>
            <a:custGeom>
              <a:avLst/>
              <a:gdLst>
                <a:gd name="T0" fmla="*/ 40 w 42"/>
                <a:gd name="T1" fmla="*/ 42 h 42"/>
                <a:gd name="T2" fmla="*/ 39 w 42"/>
                <a:gd name="T3" fmla="*/ 41 h 42"/>
                <a:gd name="T4" fmla="*/ 1 w 42"/>
                <a:gd name="T5" fmla="*/ 4 h 42"/>
                <a:gd name="T6" fmla="*/ 1 w 42"/>
                <a:gd name="T7" fmla="*/ 1 h 42"/>
                <a:gd name="T8" fmla="*/ 4 w 42"/>
                <a:gd name="T9" fmla="*/ 1 h 42"/>
                <a:gd name="T10" fmla="*/ 41 w 42"/>
                <a:gd name="T11" fmla="*/ 39 h 42"/>
                <a:gd name="T12" fmla="*/ 41 w 42"/>
                <a:gd name="T13" fmla="*/ 41 h 42"/>
                <a:gd name="T14" fmla="*/ 40 w 4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2">
                  <a:moveTo>
                    <a:pt x="40" y="42"/>
                  </a:moveTo>
                  <a:cubicBezTo>
                    <a:pt x="39" y="42"/>
                    <a:pt x="39" y="42"/>
                    <a:pt x="39" y="4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2" y="39"/>
                    <a:pt x="42" y="41"/>
                    <a:pt x="41" y="41"/>
                  </a:cubicBezTo>
                  <a:cubicBezTo>
                    <a:pt x="41" y="42"/>
                    <a:pt x="41" y="42"/>
                    <a:pt x="4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BCA05EB-0ABB-3063-EC0C-365BD9CC2D2F}"/>
              </a:ext>
            </a:extLst>
          </p:cNvPr>
          <p:cNvGrpSpPr>
            <a:grpSpLocks noChangeAspect="1"/>
          </p:cNvGrpSpPr>
          <p:nvPr/>
        </p:nvGrpSpPr>
        <p:grpSpPr>
          <a:xfrm>
            <a:off x="5909847" y="3888851"/>
            <a:ext cx="370954" cy="370954"/>
            <a:chOff x="-879475" y="2054225"/>
            <a:chExt cx="371475" cy="371475"/>
          </a:xfrm>
          <a:solidFill>
            <a:srgbClr val="3B3939"/>
          </a:solidFill>
        </p:grpSpPr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70C8A14C-FDA4-0CD0-FFED-207AFF72E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79475" y="2054225"/>
              <a:ext cx="325438" cy="325438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4 h 84"/>
                <a:gd name="T12" fmla="*/ 4 w 84"/>
                <a:gd name="T13" fmla="*/ 42 h 84"/>
                <a:gd name="T14" fmla="*/ 42 w 84"/>
                <a:gd name="T15" fmla="*/ 80 h 84"/>
                <a:gd name="T16" fmla="*/ 80 w 84"/>
                <a:gd name="T17" fmla="*/ 42 h 84"/>
                <a:gd name="T18" fmla="*/ 42 w 84"/>
                <a:gd name="T1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4"/>
                  </a:moveTo>
                  <a:cubicBezTo>
                    <a:pt x="21" y="4"/>
                    <a:pt x="4" y="21"/>
                    <a:pt x="4" y="42"/>
                  </a:cubicBezTo>
                  <a:cubicBezTo>
                    <a:pt x="4" y="63"/>
                    <a:pt x="21" y="80"/>
                    <a:pt x="42" y="80"/>
                  </a:cubicBezTo>
                  <a:cubicBezTo>
                    <a:pt x="63" y="80"/>
                    <a:pt x="80" y="63"/>
                    <a:pt x="80" y="42"/>
                  </a:cubicBezTo>
                  <a:cubicBezTo>
                    <a:pt x="80" y="21"/>
                    <a:pt x="63" y="4"/>
                    <a:pt x="4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F896D70-61D7-4E56-13A9-CCAE2D441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5950" y="2317750"/>
              <a:ext cx="107950" cy="107950"/>
            </a:xfrm>
            <a:custGeom>
              <a:avLst/>
              <a:gdLst>
                <a:gd name="T0" fmla="*/ 26 w 28"/>
                <a:gd name="T1" fmla="*/ 28 h 28"/>
                <a:gd name="T2" fmla="*/ 25 w 28"/>
                <a:gd name="T3" fmla="*/ 27 h 28"/>
                <a:gd name="T4" fmla="*/ 1 w 28"/>
                <a:gd name="T5" fmla="*/ 4 h 28"/>
                <a:gd name="T6" fmla="*/ 1 w 28"/>
                <a:gd name="T7" fmla="*/ 1 h 28"/>
                <a:gd name="T8" fmla="*/ 4 w 28"/>
                <a:gd name="T9" fmla="*/ 1 h 28"/>
                <a:gd name="T10" fmla="*/ 27 w 28"/>
                <a:gd name="T11" fmla="*/ 25 h 28"/>
                <a:gd name="T12" fmla="*/ 27 w 28"/>
                <a:gd name="T13" fmla="*/ 27 h 28"/>
                <a:gd name="T14" fmla="*/ 26 w 28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8">
                  <a:moveTo>
                    <a:pt x="26" y="28"/>
                  </a:moveTo>
                  <a:cubicBezTo>
                    <a:pt x="25" y="28"/>
                    <a:pt x="25" y="28"/>
                    <a:pt x="25" y="2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7"/>
                    <a:pt x="27" y="27"/>
                  </a:cubicBezTo>
                  <a:cubicBezTo>
                    <a:pt x="27" y="28"/>
                    <a:pt x="27" y="28"/>
                    <a:pt x="2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1353F86F-5A4A-618F-2CF5-CE30E198E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25500" y="2108200"/>
              <a:ext cx="217488" cy="217488"/>
            </a:xfrm>
            <a:custGeom>
              <a:avLst/>
              <a:gdLst>
                <a:gd name="T0" fmla="*/ 22 w 56"/>
                <a:gd name="T1" fmla="*/ 56 h 56"/>
                <a:gd name="T2" fmla="*/ 20 w 56"/>
                <a:gd name="T3" fmla="*/ 48 h 56"/>
                <a:gd name="T4" fmla="*/ 9 w 56"/>
                <a:gd name="T5" fmla="*/ 48 h 56"/>
                <a:gd name="T6" fmla="*/ 1 w 56"/>
                <a:gd name="T7" fmla="*/ 37 h 56"/>
                <a:gd name="T8" fmla="*/ 1 w 56"/>
                <a:gd name="T9" fmla="*/ 34 h 56"/>
                <a:gd name="T10" fmla="*/ 6 w 56"/>
                <a:gd name="T11" fmla="*/ 25 h 56"/>
                <a:gd name="T12" fmla="*/ 1 w 56"/>
                <a:gd name="T13" fmla="*/ 19 h 56"/>
                <a:gd name="T14" fmla="*/ 9 w 56"/>
                <a:gd name="T15" fmla="*/ 8 h 56"/>
                <a:gd name="T16" fmla="*/ 20 w 56"/>
                <a:gd name="T17" fmla="*/ 8 h 56"/>
                <a:gd name="T18" fmla="*/ 22 w 56"/>
                <a:gd name="T19" fmla="*/ 0 h 56"/>
                <a:gd name="T20" fmla="*/ 36 w 56"/>
                <a:gd name="T21" fmla="*/ 2 h 56"/>
                <a:gd name="T22" fmla="*/ 42 w 56"/>
                <a:gd name="T23" fmla="*/ 11 h 56"/>
                <a:gd name="T24" fmla="*/ 49 w 56"/>
                <a:gd name="T25" fmla="*/ 9 h 56"/>
                <a:gd name="T26" fmla="*/ 55 w 56"/>
                <a:gd name="T27" fmla="*/ 21 h 56"/>
                <a:gd name="T28" fmla="*/ 50 w 56"/>
                <a:gd name="T29" fmla="*/ 25 h 56"/>
                <a:gd name="T30" fmla="*/ 55 w 56"/>
                <a:gd name="T31" fmla="*/ 34 h 56"/>
                <a:gd name="T32" fmla="*/ 55 w 56"/>
                <a:gd name="T33" fmla="*/ 37 h 56"/>
                <a:gd name="T34" fmla="*/ 47 w 56"/>
                <a:gd name="T35" fmla="*/ 48 h 56"/>
                <a:gd name="T36" fmla="*/ 36 w 56"/>
                <a:gd name="T37" fmla="*/ 48 h 56"/>
                <a:gd name="T38" fmla="*/ 34 w 56"/>
                <a:gd name="T39" fmla="*/ 56 h 56"/>
                <a:gd name="T40" fmla="*/ 32 w 56"/>
                <a:gd name="T41" fmla="*/ 52 h 56"/>
                <a:gd name="T42" fmla="*/ 33 w 56"/>
                <a:gd name="T43" fmla="*/ 45 h 56"/>
                <a:gd name="T44" fmla="*/ 42 w 56"/>
                <a:gd name="T45" fmla="*/ 41 h 56"/>
                <a:gd name="T46" fmla="*/ 51 w 56"/>
                <a:gd name="T47" fmla="*/ 37 h 56"/>
                <a:gd name="T48" fmla="*/ 45 w 56"/>
                <a:gd name="T49" fmla="*/ 32 h 56"/>
                <a:gd name="T50" fmla="*/ 46 w 56"/>
                <a:gd name="T51" fmla="*/ 22 h 56"/>
                <a:gd name="T52" fmla="*/ 47 w 56"/>
                <a:gd name="T53" fmla="*/ 13 h 56"/>
                <a:gd name="T54" fmla="*/ 40 w 56"/>
                <a:gd name="T55" fmla="*/ 15 h 56"/>
                <a:gd name="T56" fmla="*/ 32 w 56"/>
                <a:gd name="T57" fmla="*/ 9 h 56"/>
                <a:gd name="T58" fmla="*/ 24 w 56"/>
                <a:gd name="T59" fmla="*/ 4 h 56"/>
                <a:gd name="T60" fmla="*/ 23 w 56"/>
                <a:gd name="T61" fmla="*/ 11 h 56"/>
                <a:gd name="T62" fmla="*/ 14 w 56"/>
                <a:gd name="T63" fmla="*/ 15 h 56"/>
                <a:gd name="T64" fmla="*/ 5 w 56"/>
                <a:gd name="T65" fmla="*/ 19 h 56"/>
                <a:gd name="T66" fmla="*/ 11 w 56"/>
                <a:gd name="T67" fmla="*/ 24 h 56"/>
                <a:gd name="T68" fmla="*/ 10 w 56"/>
                <a:gd name="T69" fmla="*/ 34 h 56"/>
                <a:gd name="T70" fmla="*/ 9 w 56"/>
                <a:gd name="T71" fmla="*/ 43 h 56"/>
                <a:gd name="T72" fmla="*/ 16 w 56"/>
                <a:gd name="T73" fmla="*/ 41 h 56"/>
                <a:gd name="T74" fmla="*/ 24 w 56"/>
                <a:gd name="T75" fmla="*/ 4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56">
                  <a:moveTo>
                    <a:pt x="34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20" y="55"/>
                    <a:pt x="20" y="54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18" y="48"/>
                    <a:pt x="16" y="47"/>
                    <a:pt x="14" y="45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7" y="48"/>
                    <a:pt x="7" y="4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6"/>
                    <a:pt x="0" y="36"/>
                    <a:pt x="1" y="35"/>
                  </a:cubicBezTo>
                  <a:cubicBezTo>
                    <a:pt x="1" y="35"/>
                    <a:pt x="1" y="34"/>
                    <a:pt x="1" y="34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29"/>
                    <a:pt x="6" y="27"/>
                    <a:pt x="6" y="25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0" y="20"/>
                    <a:pt x="1" y="1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9" y="8"/>
                    <a:pt x="9" y="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6" y="9"/>
                    <a:pt x="18" y="8"/>
                    <a:pt x="20" y="8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8" y="8"/>
                    <a:pt x="40" y="9"/>
                    <a:pt x="42" y="11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9" y="8"/>
                    <a:pt x="49" y="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6" y="20"/>
                    <a:pt x="56" y="20"/>
                    <a:pt x="55" y="21"/>
                  </a:cubicBezTo>
                  <a:cubicBezTo>
                    <a:pt x="55" y="21"/>
                    <a:pt x="55" y="22"/>
                    <a:pt x="55" y="2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7"/>
                    <a:pt x="50" y="29"/>
                    <a:pt x="50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5"/>
                    <a:pt x="55" y="35"/>
                  </a:cubicBezTo>
                  <a:cubicBezTo>
                    <a:pt x="56" y="36"/>
                    <a:pt x="56" y="36"/>
                    <a:pt x="55" y="3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7" y="48"/>
                    <a:pt x="47" y="48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0" y="47"/>
                    <a:pt x="38" y="48"/>
                    <a:pt x="36" y="48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6"/>
                    <a:pt x="34" y="56"/>
                  </a:cubicBezTo>
                  <a:close/>
                  <a:moveTo>
                    <a:pt x="24" y="52"/>
                  </a:moveTo>
                  <a:cubicBezTo>
                    <a:pt x="32" y="52"/>
                    <a:pt x="32" y="52"/>
                    <a:pt x="32" y="52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6"/>
                    <a:pt x="33" y="45"/>
                    <a:pt x="33" y="45"/>
                  </a:cubicBezTo>
                  <a:cubicBezTo>
                    <a:pt x="36" y="44"/>
                    <a:pt x="38" y="43"/>
                    <a:pt x="40" y="41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5" y="33"/>
                    <a:pt x="45" y="32"/>
                  </a:cubicBezTo>
                  <a:cubicBezTo>
                    <a:pt x="46" y="29"/>
                    <a:pt x="46" y="27"/>
                    <a:pt x="45" y="24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5"/>
                    <a:pt x="41" y="15"/>
                    <a:pt x="40" y="15"/>
                  </a:cubicBezTo>
                  <a:cubicBezTo>
                    <a:pt x="38" y="13"/>
                    <a:pt x="36" y="12"/>
                    <a:pt x="33" y="11"/>
                  </a:cubicBezTo>
                  <a:cubicBezTo>
                    <a:pt x="33" y="11"/>
                    <a:pt x="32" y="10"/>
                    <a:pt x="32" y="9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10"/>
                    <a:pt x="23" y="11"/>
                    <a:pt x="23" y="11"/>
                  </a:cubicBezTo>
                  <a:cubicBezTo>
                    <a:pt x="20" y="12"/>
                    <a:pt x="18" y="13"/>
                    <a:pt x="16" y="15"/>
                  </a:cubicBezTo>
                  <a:cubicBezTo>
                    <a:pt x="15" y="15"/>
                    <a:pt x="14" y="15"/>
                    <a:pt x="14" y="15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1" y="23"/>
                    <a:pt x="11" y="24"/>
                  </a:cubicBezTo>
                  <a:cubicBezTo>
                    <a:pt x="10" y="27"/>
                    <a:pt x="10" y="29"/>
                    <a:pt x="11" y="32"/>
                  </a:cubicBezTo>
                  <a:cubicBezTo>
                    <a:pt x="11" y="33"/>
                    <a:pt x="10" y="34"/>
                    <a:pt x="10" y="3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5" y="41"/>
                    <a:pt x="16" y="41"/>
                  </a:cubicBezTo>
                  <a:cubicBezTo>
                    <a:pt x="18" y="43"/>
                    <a:pt x="20" y="44"/>
                    <a:pt x="23" y="45"/>
                  </a:cubicBezTo>
                  <a:cubicBezTo>
                    <a:pt x="23" y="45"/>
                    <a:pt x="24" y="46"/>
                    <a:pt x="24" y="47"/>
                  </a:cubicBezTo>
                  <a:lnTo>
                    <a:pt x="24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1B2194D4-9257-F77B-B14D-85CF036080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5650" y="2178050"/>
              <a:ext cx="77788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7" name="Freeform 48">
            <a:extLst>
              <a:ext uri="{FF2B5EF4-FFF2-40B4-BE49-F238E27FC236}">
                <a16:creationId xmlns:a16="http://schemas.microsoft.com/office/drawing/2014/main" id="{A3C54770-96CD-0A17-A6D9-D479FF44A9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32392" y="3864814"/>
            <a:ext cx="407013" cy="394992"/>
          </a:xfrm>
          <a:custGeom>
            <a:avLst/>
            <a:gdLst>
              <a:gd name="T0" fmla="*/ 10 w 97"/>
              <a:gd name="T1" fmla="*/ 94 h 94"/>
              <a:gd name="T2" fmla="*/ 3 w 97"/>
              <a:gd name="T3" fmla="*/ 91 h 94"/>
              <a:gd name="T4" fmla="*/ 0 w 97"/>
              <a:gd name="T5" fmla="*/ 84 h 94"/>
              <a:gd name="T6" fmla="*/ 3 w 97"/>
              <a:gd name="T7" fmla="*/ 77 h 94"/>
              <a:gd name="T8" fmla="*/ 41 w 97"/>
              <a:gd name="T9" fmla="*/ 39 h 94"/>
              <a:gd name="T10" fmla="*/ 47 w 97"/>
              <a:gd name="T11" fmla="*/ 8 h 94"/>
              <a:gd name="T12" fmla="*/ 67 w 97"/>
              <a:gd name="T13" fmla="*/ 0 h 94"/>
              <a:gd name="T14" fmla="*/ 79 w 97"/>
              <a:gd name="T15" fmla="*/ 3 h 94"/>
              <a:gd name="T16" fmla="*/ 80 w 97"/>
              <a:gd name="T17" fmla="*/ 4 h 94"/>
              <a:gd name="T18" fmla="*/ 80 w 97"/>
              <a:gd name="T19" fmla="*/ 6 h 94"/>
              <a:gd name="T20" fmla="*/ 68 w 97"/>
              <a:gd name="T21" fmla="*/ 19 h 94"/>
              <a:gd name="T22" fmla="*/ 68 w 97"/>
              <a:gd name="T23" fmla="*/ 27 h 94"/>
              <a:gd name="T24" fmla="*/ 75 w 97"/>
              <a:gd name="T25" fmla="*/ 27 h 94"/>
              <a:gd name="T26" fmla="*/ 88 w 97"/>
              <a:gd name="T27" fmla="*/ 14 h 94"/>
              <a:gd name="T28" fmla="*/ 90 w 97"/>
              <a:gd name="T29" fmla="*/ 14 h 94"/>
              <a:gd name="T30" fmla="*/ 91 w 97"/>
              <a:gd name="T31" fmla="*/ 15 h 94"/>
              <a:gd name="T32" fmla="*/ 86 w 97"/>
              <a:gd name="T33" fmla="*/ 47 h 94"/>
              <a:gd name="T34" fmla="*/ 66 w 97"/>
              <a:gd name="T35" fmla="*/ 56 h 94"/>
              <a:gd name="T36" fmla="*/ 66 w 97"/>
              <a:gd name="T37" fmla="*/ 56 h 94"/>
              <a:gd name="T38" fmla="*/ 55 w 97"/>
              <a:gd name="T39" fmla="*/ 53 h 94"/>
              <a:gd name="T40" fmla="*/ 17 w 97"/>
              <a:gd name="T41" fmla="*/ 91 h 94"/>
              <a:gd name="T42" fmla="*/ 10 w 97"/>
              <a:gd name="T43" fmla="*/ 94 h 94"/>
              <a:gd name="T44" fmla="*/ 67 w 97"/>
              <a:gd name="T45" fmla="*/ 4 h 94"/>
              <a:gd name="T46" fmla="*/ 50 w 97"/>
              <a:gd name="T47" fmla="*/ 11 h 94"/>
              <a:gd name="T48" fmla="*/ 45 w 97"/>
              <a:gd name="T49" fmla="*/ 39 h 94"/>
              <a:gd name="T50" fmla="*/ 45 w 97"/>
              <a:gd name="T51" fmla="*/ 41 h 94"/>
              <a:gd name="T52" fmla="*/ 5 w 97"/>
              <a:gd name="T53" fmla="*/ 80 h 94"/>
              <a:gd name="T54" fmla="*/ 4 w 97"/>
              <a:gd name="T55" fmla="*/ 84 h 94"/>
              <a:gd name="T56" fmla="*/ 5 w 97"/>
              <a:gd name="T57" fmla="*/ 89 h 94"/>
              <a:gd name="T58" fmla="*/ 14 w 97"/>
              <a:gd name="T59" fmla="*/ 89 h 94"/>
              <a:gd name="T60" fmla="*/ 53 w 97"/>
              <a:gd name="T61" fmla="*/ 49 h 94"/>
              <a:gd name="T62" fmla="*/ 55 w 97"/>
              <a:gd name="T63" fmla="*/ 49 h 94"/>
              <a:gd name="T64" fmla="*/ 66 w 97"/>
              <a:gd name="T65" fmla="*/ 52 h 94"/>
              <a:gd name="T66" fmla="*/ 83 w 97"/>
              <a:gd name="T67" fmla="*/ 45 h 94"/>
              <a:gd name="T68" fmla="*/ 89 w 97"/>
              <a:gd name="T69" fmla="*/ 19 h 94"/>
              <a:gd name="T70" fmla="*/ 78 w 97"/>
              <a:gd name="T71" fmla="*/ 30 h 94"/>
              <a:gd name="T72" fmla="*/ 76 w 97"/>
              <a:gd name="T73" fmla="*/ 31 h 94"/>
              <a:gd name="T74" fmla="*/ 66 w 97"/>
              <a:gd name="T75" fmla="*/ 31 h 94"/>
              <a:gd name="T76" fmla="*/ 64 w 97"/>
              <a:gd name="T77" fmla="*/ 29 h 94"/>
              <a:gd name="T78" fmla="*/ 64 w 97"/>
              <a:gd name="T79" fmla="*/ 18 h 94"/>
              <a:gd name="T80" fmla="*/ 64 w 97"/>
              <a:gd name="T81" fmla="*/ 16 h 94"/>
              <a:gd name="T82" fmla="*/ 75 w 97"/>
              <a:gd name="T83" fmla="*/ 5 h 94"/>
              <a:gd name="T84" fmla="*/ 67 w 97"/>
              <a:gd name="T85" fmla="*/ 4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7" h="94">
                <a:moveTo>
                  <a:pt x="10" y="94"/>
                </a:moveTo>
                <a:cubicBezTo>
                  <a:pt x="7" y="94"/>
                  <a:pt x="4" y="93"/>
                  <a:pt x="3" y="91"/>
                </a:cubicBezTo>
                <a:cubicBezTo>
                  <a:pt x="1" y="90"/>
                  <a:pt x="0" y="87"/>
                  <a:pt x="0" y="84"/>
                </a:cubicBezTo>
                <a:cubicBezTo>
                  <a:pt x="0" y="82"/>
                  <a:pt x="1" y="79"/>
                  <a:pt x="3" y="77"/>
                </a:cubicBezTo>
                <a:cubicBezTo>
                  <a:pt x="41" y="39"/>
                  <a:pt x="41" y="39"/>
                  <a:pt x="41" y="39"/>
                </a:cubicBezTo>
                <a:cubicBezTo>
                  <a:pt x="36" y="28"/>
                  <a:pt x="38" y="16"/>
                  <a:pt x="47" y="8"/>
                </a:cubicBezTo>
                <a:cubicBezTo>
                  <a:pt x="52" y="3"/>
                  <a:pt x="59" y="0"/>
                  <a:pt x="67" y="0"/>
                </a:cubicBezTo>
                <a:cubicBezTo>
                  <a:pt x="71" y="0"/>
                  <a:pt x="76" y="1"/>
                  <a:pt x="79" y="3"/>
                </a:cubicBezTo>
                <a:cubicBezTo>
                  <a:pt x="80" y="3"/>
                  <a:pt x="80" y="4"/>
                  <a:pt x="80" y="4"/>
                </a:cubicBezTo>
                <a:cubicBezTo>
                  <a:pt x="81" y="5"/>
                  <a:pt x="80" y="5"/>
                  <a:pt x="80" y="6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7"/>
                  <a:pt x="68" y="27"/>
                  <a:pt x="68" y="27"/>
                </a:cubicBezTo>
                <a:cubicBezTo>
                  <a:pt x="75" y="27"/>
                  <a:pt x="75" y="27"/>
                  <a:pt x="75" y="27"/>
                </a:cubicBezTo>
                <a:cubicBezTo>
                  <a:pt x="88" y="14"/>
                  <a:pt x="88" y="14"/>
                  <a:pt x="88" y="14"/>
                </a:cubicBezTo>
                <a:cubicBezTo>
                  <a:pt x="89" y="14"/>
                  <a:pt x="89" y="14"/>
                  <a:pt x="90" y="14"/>
                </a:cubicBezTo>
                <a:cubicBezTo>
                  <a:pt x="90" y="14"/>
                  <a:pt x="91" y="14"/>
                  <a:pt x="91" y="15"/>
                </a:cubicBezTo>
                <a:cubicBezTo>
                  <a:pt x="97" y="26"/>
                  <a:pt x="95" y="39"/>
                  <a:pt x="86" y="47"/>
                </a:cubicBezTo>
                <a:cubicBezTo>
                  <a:pt x="81" y="53"/>
                  <a:pt x="74" y="56"/>
                  <a:pt x="66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62" y="56"/>
                  <a:pt x="59" y="55"/>
                  <a:pt x="55" y="53"/>
                </a:cubicBezTo>
                <a:cubicBezTo>
                  <a:pt x="17" y="91"/>
                  <a:pt x="17" y="91"/>
                  <a:pt x="17" y="91"/>
                </a:cubicBezTo>
                <a:cubicBezTo>
                  <a:pt x="15" y="93"/>
                  <a:pt x="12" y="94"/>
                  <a:pt x="10" y="94"/>
                </a:cubicBezTo>
                <a:close/>
                <a:moveTo>
                  <a:pt x="67" y="4"/>
                </a:moveTo>
                <a:cubicBezTo>
                  <a:pt x="60" y="4"/>
                  <a:pt x="54" y="6"/>
                  <a:pt x="50" y="11"/>
                </a:cubicBezTo>
                <a:cubicBezTo>
                  <a:pt x="42" y="18"/>
                  <a:pt x="40" y="29"/>
                  <a:pt x="45" y="39"/>
                </a:cubicBezTo>
                <a:cubicBezTo>
                  <a:pt x="45" y="39"/>
                  <a:pt x="45" y="40"/>
                  <a:pt x="45" y="41"/>
                </a:cubicBezTo>
                <a:cubicBezTo>
                  <a:pt x="5" y="80"/>
                  <a:pt x="5" y="80"/>
                  <a:pt x="5" y="80"/>
                </a:cubicBezTo>
                <a:cubicBezTo>
                  <a:pt x="4" y="81"/>
                  <a:pt x="4" y="83"/>
                  <a:pt x="4" y="84"/>
                </a:cubicBezTo>
                <a:cubicBezTo>
                  <a:pt x="4" y="86"/>
                  <a:pt x="4" y="87"/>
                  <a:pt x="5" y="89"/>
                </a:cubicBezTo>
                <a:cubicBezTo>
                  <a:pt x="8" y="91"/>
                  <a:pt x="12" y="91"/>
                  <a:pt x="14" y="89"/>
                </a:cubicBezTo>
                <a:cubicBezTo>
                  <a:pt x="53" y="49"/>
                  <a:pt x="53" y="49"/>
                  <a:pt x="53" y="49"/>
                </a:cubicBezTo>
                <a:cubicBezTo>
                  <a:pt x="54" y="49"/>
                  <a:pt x="55" y="49"/>
                  <a:pt x="55" y="49"/>
                </a:cubicBezTo>
                <a:cubicBezTo>
                  <a:pt x="59" y="51"/>
                  <a:pt x="63" y="52"/>
                  <a:pt x="66" y="52"/>
                </a:cubicBezTo>
                <a:cubicBezTo>
                  <a:pt x="73" y="52"/>
                  <a:pt x="79" y="49"/>
                  <a:pt x="83" y="45"/>
                </a:cubicBezTo>
                <a:cubicBezTo>
                  <a:pt x="90" y="38"/>
                  <a:pt x="92" y="28"/>
                  <a:pt x="89" y="19"/>
                </a:cubicBezTo>
                <a:cubicBezTo>
                  <a:pt x="78" y="30"/>
                  <a:pt x="78" y="30"/>
                  <a:pt x="78" y="30"/>
                </a:cubicBezTo>
                <a:cubicBezTo>
                  <a:pt x="77" y="31"/>
                  <a:pt x="77" y="31"/>
                  <a:pt x="76" y="31"/>
                </a:cubicBezTo>
                <a:cubicBezTo>
                  <a:pt x="66" y="31"/>
                  <a:pt x="66" y="31"/>
                  <a:pt x="66" y="31"/>
                </a:cubicBezTo>
                <a:cubicBezTo>
                  <a:pt x="65" y="31"/>
                  <a:pt x="64" y="30"/>
                  <a:pt x="64" y="29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17"/>
                  <a:pt x="64" y="17"/>
                  <a:pt x="64" y="16"/>
                </a:cubicBezTo>
                <a:cubicBezTo>
                  <a:pt x="75" y="5"/>
                  <a:pt x="75" y="5"/>
                  <a:pt x="75" y="5"/>
                </a:cubicBezTo>
                <a:cubicBezTo>
                  <a:pt x="72" y="4"/>
                  <a:pt x="70" y="4"/>
                  <a:pt x="67" y="4"/>
                </a:cubicBez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9B565DB-58C3-7DEE-7A50-48C44DF74D34}"/>
              </a:ext>
            </a:extLst>
          </p:cNvPr>
          <p:cNvGrpSpPr>
            <a:grpSpLocks noChangeAspect="1"/>
          </p:cNvGrpSpPr>
          <p:nvPr/>
        </p:nvGrpSpPr>
        <p:grpSpPr>
          <a:xfrm>
            <a:off x="9352045" y="3810951"/>
            <a:ext cx="448855" cy="448854"/>
            <a:chOff x="5988050" y="1774825"/>
            <a:chExt cx="371476" cy="371475"/>
          </a:xfrm>
          <a:solidFill>
            <a:srgbClr val="78D2D2"/>
          </a:solidFill>
        </p:grpSpPr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id="{FCE920D2-458E-55DB-8990-04C90CC2D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5838" y="1960563"/>
              <a:ext cx="107950" cy="10795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8" y="4"/>
                    <a:pt x="4" y="8"/>
                    <a:pt x="4" y="14"/>
                  </a:cubicBezTo>
                  <a:cubicBezTo>
                    <a:pt x="4" y="20"/>
                    <a:pt x="8" y="24"/>
                    <a:pt x="14" y="24"/>
                  </a:cubicBezTo>
                  <a:cubicBezTo>
                    <a:pt x="20" y="24"/>
                    <a:pt x="24" y="20"/>
                    <a:pt x="24" y="14"/>
                  </a:cubicBezTo>
                  <a:cubicBezTo>
                    <a:pt x="24" y="8"/>
                    <a:pt x="20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53">
              <a:extLst>
                <a:ext uri="{FF2B5EF4-FFF2-40B4-BE49-F238E27FC236}">
                  <a16:creationId xmlns:a16="http://schemas.microsoft.com/office/drawing/2014/main" id="{684ABD72-1576-E5C7-15CC-B35BA60E2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8050" y="1882775"/>
              <a:ext cx="263525" cy="263525"/>
            </a:xfrm>
            <a:custGeom>
              <a:avLst/>
              <a:gdLst>
                <a:gd name="T0" fmla="*/ 26 w 68"/>
                <a:gd name="T1" fmla="*/ 68 h 68"/>
                <a:gd name="T2" fmla="*/ 24 w 68"/>
                <a:gd name="T3" fmla="*/ 60 h 68"/>
                <a:gd name="T4" fmla="*/ 11 w 68"/>
                <a:gd name="T5" fmla="*/ 59 h 68"/>
                <a:gd name="T6" fmla="*/ 1 w 68"/>
                <a:gd name="T7" fmla="*/ 44 h 68"/>
                <a:gd name="T8" fmla="*/ 1 w 68"/>
                <a:gd name="T9" fmla="*/ 41 h 68"/>
                <a:gd name="T10" fmla="*/ 6 w 68"/>
                <a:gd name="T11" fmla="*/ 30 h 68"/>
                <a:gd name="T12" fmla="*/ 1 w 68"/>
                <a:gd name="T13" fmla="*/ 24 h 68"/>
                <a:gd name="T14" fmla="*/ 10 w 68"/>
                <a:gd name="T15" fmla="*/ 9 h 68"/>
                <a:gd name="T16" fmla="*/ 16 w 68"/>
                <a:gd name="T17" fmla="*/ 12 h 68"/>
                <a:gd name="T18" fmla="*/ 24 w 68"/>
                <a:gd name="T19" fmla="*/ 2 h 68"/>
                <a:gd name="T20" fmla="*/ 42 w 68"/>
                <a:gd name="T21" fmla="*/ 0 h 68"/>
                <a:gd name="T22" fmla="*/ 44 w 68"/>
                <a:gd name="T23" fmla="*/ 8 h 68"/>
                <a:gd name="T24" fmla="*/ 57 w 68"/>
                <a:gd name="T25" fmla="*/ 9 h 68"/>
                <a:gd name="T26" fmla="*/ 67 w 68"/>
                <a:gd name="T27" fmla="*/ 24 h 68"/>
                <a:gd name="T28" fmla="*/ 62 w 68"/>
                <a:gd name="T29" fmla="*/ 30 h 68"/>
                <a:gd name="T30" fmla="*/ 67 w 68"/>
                <a:gd name="T31" fmla="*/ 41 h 68"/>
                <a:gd name="T32" fmla="*/ 67 w 68"/>
                <a:gd name="T33" fmla="*/ 44 h 68"/>
                <a:gd name="T34" fmla="*/ 58 w 68"/>
                <a:gd name="T35" fmla="*/ 59 h 68"/>
                <a:gd name="T36" fmla="*/ 52 w 68"/>
                <a:gd name="T37" fmla="*/ 56 h 68"/>
                <a:gd name="T38" fmla="*/ 44 w 68"/>
                <a:gd name="T39" fmla="*/ 66 h 68"/>
                <a:gd name="T40" fmla="*/ 28 w 68"/>
                <a:gd name="T41" fmla="*/ 64 h 68"/>
                <a:gd name="T42" fmla="*/ 40 w 68"/>
                <a:gd name="T43" fmla="*/ 59 h 68"/>
                <a:gd name="T44" fmla="*/ 50 w 68"/>
                <a:gd name="T45" fmla="*/ 52 h 68"/>
                <a:gd name="T46" fmla="*/ 57 w 68"/>
                <a:gd name="T47" fmla="*/ 54 h 68"/>
                <a:gd name="T48" fmla="*/ 58 w 68"/>
                <a:gd name="T49" fmla="*/ 41 h 68"/>
                <a:gd name="T50" fmla="*/ 57 w 68"/>
                <a:gd name="T51" fmla="*/ 29 h 68"/>
                <a:gd name="T52" fmla="*/ 63 w 68"/>
                <a:gd name="T53" fmla="*/ 24 h 68"/>
                <a:gd name="T54" fmla="*/ 52 w 68"/>
                <a:gd name="T55" fmla="*/ 16 h 68"/>
                <a:gd name="T56" fmla="*/ 41 w 68"/>
                <a:gd name="T57" fmla="*/ 11 h 68"/>
                <a:gd name="T58" fmla="*/ 40 w 68"/>
                <a:gd name="T59" fmla="*/ 4 h 68"/>
                <a:gd name="T60" fmla="*/ 28 w 68"/>
                <a:gd name="T61" fmla="*/ 9 h 68"/>
                <a:gd name="T62" fmla="*/ 18 w 68"/>
                <a:gd name="T63" fmla="*/ 16 h 68"/>
                <a:gd name="T64" fmla="*/ 11 w 68"/>
                <a:gd name="T65" fmla="*/ 14 h 68"/>
                <a:gd name="T66" fmla="*/ 10 w 68"/>
                <a:gd name="T67" fmla="*/ 27 h 68"/>
                <a:gd name="T68" fmla="*/ 11 w 68"/>
                <a:gd name="T69" fmla="*/ 39 h 68"/>
                <a:gd name="T70" fmla="*/ 5 w 68"/>
                <a:gd name="T71" fmla="*/ 44 h 68"/>
                <a:gd name="T72" fmla="*/ 16 w 68"/>
                <a:gd name="T73" fmla="*/ 52 h 68"/>
                <a:gd name="T74" fmla="*/ 27 w 68"/>
                <a:gd name="T75" fmla="*/ 57 h 68"/>
                <a:gd name="T76" fmla="*/ 28 w 68"/>
                <a:gd name="T77" fmla="*/ 6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8" h="68">
                  <a:moveTo>
                    <a:pt x="42" y="68"/>
                  </a:moveTo>
                  <a:cubicBezTo>
                    <a:pt x="26" y="68"/>
                    <a:pt x="26" y="68"/>
                    <a:pt x="26" y="68"/>
                  </a:cubicBezTo>
                  <a:cubicBezTo>
                    <a:pt x="25" y="68"/>
                    <a:pt x="24" y="67"/>
                    <a:pt x="24" y="6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1" y="59"/>
                    <a:pt x="19" y="58"/>
                    <a:pt x="16" y="5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0" y="59"/>
                    <a:pt x="9" y="59"/>
                    <a:pt x="9" y="58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2"/>
                    <a:pt x="1" y="42"/>
                    <a:pt x="1" y="41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5"/>
                    <a:pt x="6" y="33"/>
                    <a:pt x="6" y="3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5"/>
                    <a:pt x="1" y="24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9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9" y="10"/>
                    <a:pt x="21" y="9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5" y="0"/>
                    <a:pt x="2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7" y="9"/>
                    <a:pt x="49" y="10"/>
                    <a:pt x="52" y="12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7" y="27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3"/>
                    <a:pt x="62" y="35"/>
                    <a:pt x="62" y="38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2"/>
                    <a:pt x="68" y="42"/>
                    <a:pt x="68" y="43"/>
                  </a:cubicBezTo>
                  <a:cubicBezTo>
                    <a:pt x="68" y="43"/>
                    <a:pt x="68" y="44"/>
                    <a:pt x="67" y="44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9" y="58"/>
                    <a:pt x="59" y="59"/>
                    <a:pt x="58" y="59"/>
                  </a:cubicBezTo>
                  <a:cubicBezTo>
                    <a:pt x="58" y="59"/>
                    <a:pt x="57" y="59"/>
                    <a:pt x="57" y="59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49" y="58"/>
                    <a:pt x="47" y="59"/>
                    <a:pt x="44" y="60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7"/>
                    <a:pt x="43" y="68"/>
                    <a:pt x="42" y="68"/>
                  </a:cubicBezTo>
                  <a:close/>
                  <a:moveTo>
                    <a:pt x="28" y="64"/>
                  </a:moveTo>
                  <a:cubicBezTo>
                    <a:pt x="40" y="64"/>
                    <a:pt x="40" y="64"/>
                    <a:pt x="40" y="6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1" y="57"/>
                    <a:pt x="41" y="57"/>
                  </a:cubicBezTo>
                  <a:cubicBezTo>
                    <a:pt x="45" y="56"/>
                    <a:pt x="48" y="54"/>
                    <a:pt x="50" y="52"/>
                  </a:cubicBezTo>
                  <a:cubicBezTo>
                    <a:pt x="51" y="51"/>
                    <a:pt x="52" y="51"/>
                    <a:pt x="52" y="5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7" y="40"/>
                    <a:pt x="57" y="39"/>
                  </a:cubicBezTo>
                  <a:cubicBezTo>
                    <a:pt x="58" y="36"/>
                    <a:pt x="58" y="32"/>
                    <a:pt x="57" y="29"/>
                  </a:cubicBezTo>
                  <a:cubicBezTo>
                    <a:pt x="57" y="28"/>
                    <a:pt x="58" y="27"/>
                    <a:pt x="58" y="27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0" y="16"/>
                  </a:cubicBezTo>
                  <a:cubicBezTo>
                    <a:pt x="48" y="14"/>
                    <a:pt x="45" y="12"/>
                    <a:pt x="41" y="11"/>
                  </a:cubicBezTo>
                  <a:cubicBezTo>
                    <a:pt x="41" y="11"/>
                    <a:pt x="40" y="10"/>
                    <a:pt x="40" y="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7" y="11"/>
                    <a:pt x="27" y="11"/>
                  </a:cubicBezTo>
                  <a:cubicBezTo>
                    <a:pt x="23" y="12"/>
                    <a:pt x="20" y="14"/>
                    <a:pt x="18" y="16"/>
                  </a:cubicBezTo>
                  <a:cubicBezTo>
                    <a:pt x="17" y="17"/>
                    <a:pt x="16" y="17"/>
                    <a:pt x="16" y="16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8"/>
                    <a:pt x="11" y="29"/>
                  </a:cubicBezTo>
                  <a:cubicBezTo>
                    <a:pt x="10" y="32"/>
                    <a:pt x="10" y="36"/>
                    <a:pt x="11" y="39"/>
                  </a:cubicBezTo>
                  <a:cubicBezTo>
                    <a:pt x="11" y="40"/>
                    <a:pt x="10" y="41"/>
                    <a:pt x="10" y="41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8" y="52"/>
                  </a:cubicBezTo>
                  <a:cubicBezTo>
                    <a:pt x="20" y="54"/>
                    <a:pt x="23" y="56"/>
                    <a:pt x="27" y="57"/>
                  </a:cubicBezTo>
                  <a:cubicBezTo>
                    <a:pt x="27" y="57"/>
                    <a:pt x="28" y="58"/>
                    <a:pt x="28" y="59"/>
                  </a:cubicBezTo>
                  <a:lnTo>
                    <a:pt x="2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54">
              <a:extLst>
                <a:ext uri="{FF2B5EF4-FFF2-40B4-BE49-F238E27FC236}">
                  <a16:creationId xmlns:a16="http://schemas.microsoft.com/office/drawing/2014/main" id="{42E44B5B-FB30-2BA5-B534-F0FD05CB6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1575" y="1820863"/>
              <a:ext cx="61913" cy="61913"/>
            </a:xfrm>
            <a:custGeom>
              <a:avLst/>
              <a:gdLst>
                <a:gd name="T0" fmla="*/ 8 w 16"/>
                <a:gd name="T1" fmla="*/ 16 h 16"/>
                <a:gd name="T2" fmla="*/ 0 w 16"/>
                <a:gd name="T3" fmla="*/ 8 h 16"/>
                <a:gd name="T4" fmla="*/ 8 w 16"/>
                <a:gd name="T5" fmla="*/ 0 h 16"/>
                <a:gd name="T6" fmla="*/ 16 w 16"/>
                <a:gd name="T7" fmla="*/ 8 h 16"/>
                <a:gd name="T8" fmla="*/ 8 w 16"/>
                <a:gd name="T9" fmla="*/ 16 h 16"/>
                <a:gd name="T10" fmla="*/ 8 w 16"/>
                <a:gd name="T11" fmla="*/ 4 h 16"/>
                <a:gd name="T12" fmla="*/ 4 w 16"/>
                <a:gd name="T13" fmla="*/ 8 h 16"/>
                <a:gd name="T14" fmla="*/ 8 w 16"/>
                <a:gd name="T15" fmla="*/ 12 h 16"/>
                <a:gd name="T16" fmla="*/ 12 w 16"/>
                <a:gd name="T17" fmla="*/ 8 h 16"/>
                <a:gd name="T18" fmla="*/ 8 w 16"/>
                <a:gd name="T1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12"/>
                    <a:pt x="12" y="16"/>
                    <a:pt x="8" y="16"/>
                  </a:cubicBezTo>
                  <a:close/>
                  <a:moveTo>
                    <a:pt x="8" y="4"/>
                  </a:move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0" y="12"/>
                    <a:pt x="12" y="10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4432216E-CF86-F65D-C675-FBE0E571A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5538" y="1774825"/>
              <a:ext cx="153988" cy="155575"/>
            </a:xfrm>
            <a:custGeom>
              <a:avLst/>
              <a:gdLst>
                <a:gd name="T0" fmla="*/ 16 w 40"/>
                <a:gd name="T1" fmla="*/ 40 h 40"/>
                <a:gd name="T2" fmla="*/ 14 w 40"/>
                <a:gd name="T3" fmla="*/ 35 h 40"/>
                <a:gd name="T4" fmla="*/ 7 w 40"/>
                <a:gd name="T5" fmla="*/ 34 h 40"/>
                <a:gd name="T6" fmla="*/ 5 w 40"/>
                <a:gd name="T7" fmla="*/ 33 h 40"/>
                <a:gd name="T8" fmla="*/ 1 w 40"/>
                <a:gd name="T9" fmla="*/ 24 h 40"/>
                <a:gd name="T10" fmla="*/ 4 w 40"/>
                <a:gd name="T11" fmla="*/ 18 h 40"/>
                <a:gd name="T12" fmla="*/ 0 w 40"/>
                <a:gd name="T13" fmla="*/ 15 h 40"/>
                <a:gd name="T14" fmla="*/ 5 w 40"/>
                <a:gd name="T15" fmla="*/ 7 h 40"/>
                <a:gd name="T16" fmla="*/ 7 w 40"/>
                <a:gd name="T17" fmla="*/ 6 h 40"/>
                <a:gd name="T18" fmla="*/ 14 w 40"/>
                <a:gd name="T19" fmla="*/ 5 h 40"/>
                <a:gd name="T20" fmla="*/ 16 w 40"/>
                <a:gd name="T21" fmla="*/ 0 h 40"/>
                <a:gd name="T22" fmla="*/ 26 w 40"/>
                <a:gd name="T23" fmla="*/ 2 h 40"/>
                <a:gd name="T24" fmla="*/ 30 w 40"/>
                <a:gd name="T25" fmla="*/ 7 h 40"/>
                <a:gd name="T26" fmla="*/ 34 w 40"/>
                <a:gd name="T27" fmla="*/ 6 h 40"/>
                <a:gd name="T28" fmla="*/ 39 w 40"/>
                <a:gd name="T29" fmla="*/ 13 h 40"/>
                <a:gd name="T30" fmla="*/ 36 w 40"/>
                <a:gd name="T31" fmla="*/ 18 h 40"/>
                <a:gd name="T32" fmla="*/ 39 w 40"/>
                <a:gd name="T33" fmla="*/ 24 h 40"/>
                <a:gd name="T34" fmla="*/ 35 w 40"/>
                <a:gd name="T35" fmla="*/ 33 h 40"/>
                <a:gd name="T36" fmla="*/ 33 w 40"/>
                <a:gd name="T37" fmla="*/ 34 h 40"/>
                <a:gd name="T38" fmla="*/ 26 w 40"/>
                <a:gd name="T39" fmla="*/ 35 h 40"/>
                <a:gd name="T40" fmla="*/ 24 w 40"/>
                <a:gd name="T41" fmla="*/ 40 h 40"/>
                <a:gd name="T42" fmla="*/ 22 w 40"/>
                <a:gd name="T43" fmla="*/ 36 h 40"/>
                <a:gd name="T44" fmla="*/ 23 w 40"/>
                <a:gd name="T45" fmla="*/ 31 h 40"/>
                <a:gd name="T46" fmla="*/ 31 w 40"/>
                <a:gd name="T47" fmla="*/ 28 h 40"/>
                <a:gd name="T48" fmla="*/ 35 w 40"/>
                <a:gd name="T49" fmla="*/ 26 h 40"/>
                <a:gd name="T50" fmla="*/ 32 w 40"/>
                <a:gd name="T51" fmla="*/ 23 h 40"/>
                <a:gd name="T52" fmla="*/ 33 w 40"/>
                <a:gd name="T53" fmla="*/ 15 h 40"/>
                <a:gd name="T54" fmla="*/ 33 w 40"/>
                <a:gd name="T55" fmla="*/ 10 h 40"/>
                <a:gd name="T56" fmla="*/ 28 w 40"/>
                <a:gd name="T57" fmla="*/ 11 h 40"/>
                <a:gd name="T58" fmla="*/ 22 w 40"/>
                <a:gd name="T59" fmla="*/ 7 h 40"/>
                <a:gd name="T60" fmla="*/ 18 w 40"/>
                <a:gd name="T61" fmla="*/ 4 h 40"/>
                <a:gd name="T62" fmla="*/ 17 w 40"/>
                <a:gd name="T63" fmla="*/ 9 h 40"/>
                <a:gd name="T64" fmla="*/ 9 w 40"/>
                <a:gd name="T65" fmla="*/ 12 h 40"/>
                <a:gd name="T66" fmla="*/ 5 w 40"/>
                <a:gd name="T67" fmla="*/ 14 h 40"/>
                <a:gd name="T68" fmla="*/ 8 w 40"/>
                <a:gd name="T69" fmla="*/ 17 h 40"/>
                <a:gd name="T70" fmla="*/ 7 w 40"/>
                <a:gd name="T71" fmla="*/ 25 h 40"/>
                <a:gd name="T72" fmla="*/ 7 w 40"/>
                <a:gd name="T73" fmla="*/ 30 h 40"/>
                <a:gd name="T74" fmla="*/ 12 w 40"/>
                <a:gd name="T75" fmla="*/ 29 h 40"/>
                <a:gd name="T76" fmla="*/ 18 w 40"/>
                <a:gd name="T7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" h="40">
                  <a:moveTo>
                    <a:pt x="24" y="40"/>
                  </a:move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4" y="39"/>
                    <a:pt x="14" y="38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4"/>
                    <a:pt x="11" y="34"/>
                    <a:pt x="10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6" y="35"/>
                    <a:pt x="6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4"/>
                    <a:pt x="1" y="2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19"/>
                    <a:pt x="4" y="1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5"/>
                    <a:pt x="0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3" y="6"/>
                    <a:pt x="14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5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9" y="6"/>
                    <a:pt x="30" y="7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4" y="5"/>
                    <a:pt x="34" y="6"/>
                  </a:cubicBezTo>
                  <a:cubicBezTo>
                    <a:pt x="35" y="6"/>
                    <a:pt x="35" y="6"/>
                    <a:pt x="35" y="7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4"/>
                    <a:pt x="40" y="16"/>
                    <a:pt x="39" y="16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6" y="21"/>
                    <a:pt x="36" y="22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6"/>
                    <a:pt x="39" y="27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5"/>
                    <a:pt x="33" y="34"/>
                    <a:pt x="33" y="34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3"/>
                    <a:pt x="27" y="34"/>
                    <a:pt x="26" y="35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9"/>
                    <a:pt x="25" y="40"/>
                    <a:pt x="24" y="40"/>
                  </a:cubicBezTo>
                  <a:close/>
                  <a:moveTo>
                    <a:pt x="18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5" y="31"/>
                    <a:pt x="27" y="30"/>
                    <a:pt x="28" y="29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2" y="25"/>
                    <a:pt x="31" y="24"/>
                    <a:pt x="32" y="23"/>
                  </a:cubicBezTo>
                  <a:cubicBezTo>
                    <a:pt x="32" y="21"/>
                    <a:pt x="32" y="19"/>
                    <a:pt x="32" y="17"/>
                  </a:cubicBezTo>
                  <a:cubicBezTo>
                    <a:pt x="31" y="16"/>
                    <a:pt x="32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29" y="12"/>
                    <a:pt x="28" y="11"/>
                  </a:cubicBezTo>
                  <a:cubicBezTo>
                    <a:pt x="27" y="10"/>
                    <a:pt x="25" y="9"/>
                    <a:pt x="23" y="9"/>
                  </a:cubicBezTo>
                  <a:cubicBezTo>
                    <a:pt x="23" y="8"/>
                    <a:pt x="22" y="8"/>
                    <a:pt x="22" y="7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7" y="8"/>
                    <a:pt x="17" y="9"/>
                  </a:cubicBezTo>
                  <a:cubicBezTo>
                    <a:pt x="15" y="9"/>
                    <a:pt x="13" y="10"/>
                    <a:pt x="12" y="11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9" y="16"/>
                    <a:pt x="8" y="17"/>
                  </a:cubicBezTo>
                  <a:cubicBezTo>
                    <a:pt x="8" y="19"/>
                    <a:pt x="8" y="21"/>
                    <a:pt x="8" y="23"/>
                  </a:cubicBezTo>
                  <a:cubicBezTo>
                    <a:pt x="9" y="24"/>
                    <a:pt x="8" y="24"/>
                    <a:pt x="7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1" y="28"/>
                    <a:pt x="12" y="29"/>
                  </a:cubicBezTo>
                  <a:cubicBezTo>
                    <a:pt x="13" y="30"/>
                    <a:pt x="15" y="31"/>
                    <a:pt x="17" y="31"/>
                  </a:cubicBezTo>
                  <a:cubicBezTo>
                    <a:pt x="17" y="32"/>
                    <a:pt x="18" y="33"/>
                    <a:pt x="18" y="33"/>
                  </a:cubicBezTo>
                  <a:lnTo>
                    <a:pt x="1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B0D0A77-279F-E2E0-11A7-97535825FF40}"/>
              </a:ext>
            </a:extLst>
          </p:cNvPr>
          <p:cNvGrpSpPr/>
          <p:nvPr/>
        </p:nvGrpSpPr>
        <p:grpSpPr>
          <a:xfrm>
            <a:off x="1659449" y="1710150"/>
            <a:ext cx="1910806" cy="1067838"/>
            <a:chOff x="1013695" y="2240659"/>
            <a:chExt cx="1532549" cy="856452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E00BD2B4-F040-F71B-BFC9-7B4532C91F52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675D1783-F1D3-B2BA-EBA3-6EE372E82F82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669E709A-7286-2408-7804-9705C3E2897E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F24F861-060D-83F9-66F8-C70AB7B6FD0D}"/>
                </a:ext>
              </a:extLst>
            </p:cNvPr>
            <p:cNvSpPr txBox="1"/>
            <p:nvPr/>
          </p:nvSpPr>
          <p:spPr>
            <a:xfrm>
              <a:off x="1013695" y="2240659"/>
              <a:ext cx="1532549" cy="39496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AI-Driven Predictive Analytic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915AD0D-5152-26E2-3456-72B2CFD76662}"/>
              </a:ext>
            </a:extLst>
          </p:cNvPr>
          <p:cNvGrpSpPr/>
          <p:nvPr/>
        </p:nvGrpSpPr>
        <p:grpSpPr>
          <a:xfrm>
            <a:off x="5140597" y="1710150"/>
            <a:ext cx="1910806" cy="1067838"/>
            <a:chOff x="1013695" y="2240659"/>
            <a:chExt cx="1532549" cy="85645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97600E1-5322-4D5C-5C1B-004FBD2A5088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E9A7AFD0-5BD1-0A0E-CCE3-D6C1BC0FF656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EFF96E1-33E3-9DB9-06D6-29636888519E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CE93FDD-53AD-0E5D-8695-1618CFD580A4}"/>
                </a:ext>
              </a:extLst>
            </p:cNvPr>
            <p:cNvSpPr txBox="1"/>
            <p:nvPr/>
          </p:nvSpPr>
          <p:spPr>
            <a:xfrm>
              <a:off x="1013695" y="2240659"/>
              <a:ext cx="1532549" cy="39496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Blockchain-Verified Skill Badges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8CD2084-38CE-2D84-6BBA-8232BF847E7E}"/>
              </a:ext>
            </a:extLst>
          </p:cNvPr>
          <p:cNvGrpSpPr/>
          <p:nvPr/>
        </p:nvGrpSpPr>
        <p:grpSpPr>
          <a:xfrm flipV="1">
            <a:off x="3399348" y="5257786"/>
            <a:ext cx="1910806" cy="984669"/>
            <a:chOff x="1013695" y="2307362"/>
            <a:chExt cx="1532549" cy="789749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2F06BDE-61AB-1E5E-7F20-A7D39A688B8C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F9D0B934-4AAB-7706-4B2C-FB67C46D4D29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07B93D5D-22DE-2D89-CB20-B82BFA0AD7E2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F8EC53C-29E6-07BB-D437-7DE036FC84F4}"/>
                </a:ext>
              </a:extLst>
            </p:cNvPr>
            <p:cNvSpPr txBox="1"/>
            <p:nvPr/>
          </p:nvSpPr>
          <p:spPr>
            <a:xfrm flipV="1">
              <a:off x="1013695" y="2307362"/>
              <a:ext cx="1532549" cy="39496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Collaborative Problem-Solving Challenges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2C0250E-C28D-7A12-F008-7A7F7B8B3989}"/>
              </a:ext>
            </a:extLst>
          </p:cNvPr>
          <p:cNvGrpSpPr/>
          <p:nvPr/>
        </p:nvGrpSpPr>
        <p:grpSpPr>
          <a:xfrm flipV="1">
            <a:off x="6880496" y="5257786"/>
            <a:ext cx="1910806" cy="984669"/>
            <a:chOff x="1013695" y="2307362"/>
            <a:chExt cx="1532549" cy="789749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032DA302-D251-1175-B215-4E9926867D94}"/>
                </a:ext>
              </a:extLst>
            </p:cNvPr>
            <p:cNvGrpSpPr/>
            <p:nvPr/>
          </p:nvGrpSpPr>
          <p:grpSpPr>
            <a:xfrm>
              <a:off x="1553008" y="2757488"/>
              <a:ext cx="453923" cy="339623"/>
              <a:chOff x="1553007" y="2757488"/>
              <a:chExt cx="453923" cy="339623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2615D3D4-8BC0-CB67-C13E-E921716154DC}"/>
                  </a:ext>
                </a:extLst>
              </p:cNvPr>
              <p:cNvCxnSpPr/>
              <p:nvPr/>
            </p:nvCxnSpPr>
            <p:spPr>
              <a:xfrm>
                <a:off x="1779969" y="2757488"/>
                <a:ext cx="0" cy="3396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6978B871-DA68-4F1D-3FE4-FB6B2CEBC890}"/>
                  </a:ext>
                </a:extLst>
              </p:cNvPr>
              <p:cNvCxnSpPr/>
              <p:nvPr/>
            </p:nvCxnSpPr>
            <p:spPr>
              <a:xfrm rot="16200000">
                <a:off x="1779969" y="2530526"/>
                <a:ext cx="0" cy="453923"/>
              </a:xfrm>
              <a:prstGeom prst="line">
                <a:avLst/>
              </a:prstGeom>
              <a:noFill/>
              <a:ln w="12700" cap="flat" cmpd="sng" algn="ctr">
                <a:solidFill>
                  <a:sysClr val="windowText" lastClr="000000">
                    <a:lumMod val="65000"/>
                    <a:lumOff val="35000"/>
                  </a:sys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C4181C4-18FB-790C-2200-7C043C290890}"/>
                </a:ext>
              </a:extLst>
            </p:cNvPr>
            <p:cNvSpPr txBox="1"/>
            <p:nvPr/>
          </p:nvSpPr>
          <p:spPr>
            <a:xfrm flipV="1">
              <a:off x="1013695" y="2307362"/>
              <a:ext cx="1532549" cy="39496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Calibri Light"/>
                </a:rPr>
                <a:t>Sustainable Education Ecosystem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797999CC-48BE-BE91-A1C7-66D7C05277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9DEDC4-0688-E25E-BC89-EA5314B3A9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2652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1" name="Google Shape;1691;p21"/>
          <p:cNvSpPr/>
          <p:nvPr/>
        </p:nvSpPr>
        <p:spPr>
          <a:xfrm>
            <a:off x="100352" y="3479514"/>
            <a:ext cx="5909659" cy="101664"/>
          </a:xfrm>
          <a:custGeom>
            <a:avLst/>
            <a:gdLst/>
            <a:ahLst/>
            <a:cxnLst/>
            <a:rect l="l" t="t" r="r" b="b"/>
            <a:pathLst>
              <a:path w="138173" h="2377" extrusionOk="0">
                <a:moveTo>
                  <a:pt x="1" y="1"/>
                </a:moveTo>
                <a:lnTo>
                  <a:pt x="1" y="2376"/>
                </a:lnTo>
                <a:lnTo>
                  <a:pt x="138173" y="2376"/>
                </a:lnTo>
                <a:lnTo>
                  <a:pt x="138173" y="1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2" name="Google Shape;1692;p21"/>
          <p:cNvSpPr/>
          <p:nvPr/>
        </p:nvSpPr>
        <p:spPr>
          <a:xfrm>
            <a:off x="5896200" y="3379306"/>
            <a:ext cx="356275" cy="300716"/>
          </a:xfrm>
          <a:custGeom>
            <a:avLst/>
            <a:gdLst/>
            <a:ahLst/>
            <a:cxnLst/>
            <a:rect l="l" t="t" r="r" b="b"/>
            <a:pathLst>
              <a:path w="8330" h="7031" extrusionOk="0">
                <a:moveTo>
                  <a:pt x="1" y="0"/>
                </a:moveTo>
                <a:lnTo>
                  <a:pt x="1489" y="3516"/>
                </a:lnTo>
                <a:lnTo>
                  <a:pt x="1" y="7031"/>
                </a:lnTo>
                <a:lnTo>
                  <a:pt x="8330" y="3516"/>
                </a:lnTo>
                <a:lnTo>
                  <a:pt x="1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3" name="Google Shape;1693;p21"/>
          <p:cNvSpPr/>
          <p:nvPr/>
        </p:nvSpPr>
        <p:spPr>
          <a:xfrm>
            <a:off x="113910" y="1235160"/>
            <a:ext cx="5896101" cy="1775768"/>
          </a:xfrm>
          <a:custGeom>
            <a:avLst/>
            <a:gdLst/>
            <a:ahLst/>
            <a:cxnLst/>
            <a:rect l="l" t="t" r="r" b="b"/>
            <a:pathLst>
              <a:path w="137856" h="41519" extrusionOk="0">
                <a:moveTo>
                  <a:pt x="129115" y="1"/>
                </a:moveTo>
                <a:lnTo>
                  <a:pt x="98745" y="39143"/>
                </a:lnTo>
                <a:lnTo>
                  <a:pt x="0" y="39143"/>
                </a:lnTo>
                <a:lnTo>
                  <a:pt x="0" y="41519"/>
                </a:lnTo>
                <a:lnTo>
                  <a:pt x="99916" y="41519"/>
                </a:lnTo>
                <a:lnTo>
                  <a:pt x="130287" y="2376"/>
                </a:lnTo>
                <a:lnTo>
                  <a:pt x="137856" y="2376"/>
                </a:lnTo>
                <a:lnTo>
                  <a:pt x="137856" y="1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4" name="Google Shape;1694;p21"/>
          <p:cNvSpPr/>
          <p:nvPr/>
        </p:nvSpPr>
        <p:spPr>
          <a:xfrm>
            <a:off x="5896200" y="1134950"/>
            <a:ext cx="356275" cy="300716"/>
          </a:xfrm>
          <a:custGeom>
            <a:avLst/>
            <a:gdLst/>
            <a:ahLst/>
            <a:cxnLst/>
            <a:rect l="l" t="t" r="r" b="b"/>
            <a:pathLst>
              <a:path w="8330" h="7031" extrusionOk="0">
                <a:moveTo>
                  <a:pt x="1" y="0"/>
                </a:moveTo>
                <a:lnTo>
                  <a:pt x="1489" y="3515"/>
                </a:lnTo>
                <a:lnTo>
                  <a:pt x="1" y="7031"/>
                </a:lnTo>
                <a:lnTo>
                  <a:pt x="8330" y="3515"/>
                </a:lnTo>
                <a:lnTo>
                  <a:pt x="1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5" name="Google Shape;1695;p21"/>
          <p:cNvSpPr/>
          <p:nvPr/>
        </p:nvSpPr>
        <p:spPr>
          <a:xfrm>
            <a:off x="107153" y="2325537"/>
            <a:ext cx="8369405" cy="984736"/>
          </a:xfrm>
          <a:custGeom>
            <a:avLst/>
            <a:gdLst/>
            <a:ahLst/>
            <a:cxnLst/>
            <a:rect l="l" t="t" r="r" b="b"/>
            <a:pathLst>
              <a:path w="195684" h="23024" extrusionOk="0">
                <a:moveTo>
                  <a:pt x="128608" y="0"/>
                </a:moveTo>
                <a:lnTo>
                  <a:pt x="112837" y="20648"/>
                </a:lnTo>
                <a:lnTo>
                  <a:pt x="0" y="20648"/>
                </a:lnTo>
                <a:lnTo>
                  <a:pt x="0" y="23023"/>
                </a:lnTo>
                <a:lnTo>
                  <a:pt x="114009" y="23023"/>
                </a:lnTo>
                <a:lnTo>
                  <a:pt x="129780" y="2375"/>
                </a:lnTo>
                <a:lnTo>
                  <a:pt x="195683" y="2375"/>
                </a:lnTo>
                <a:lnTo>
                  <a:pt x="195683" y="0"/>
                </a:ln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6" name="Google Shape;1696;p21"/>
          <p:cNvSpPr/>
          <p:nvPr/>
        </p:nvSpPr>
        <p:spPr>
          <a:xfrm>
            <a:off x="8362746" y="2225286"/>
            <a:ext cx="356275" cy="302084"/>
          </a:xfrm>
          <a:custGeom>
            <a:avLst/>
            <a:gdLst/>
            <a:ahLst/>
            <a:cxnLst/>
            <a:rect l="l" t="t" r="r" b="b"/>
            <a:pathLst>
              <a:path w="8330" h="7063" extrusionOk="0">
                <a:moveTo>
                  <a:pt x="0" y="1"/>
                </a:moveTo>
                <a:lnTo>
                  <a:pt x="1489" y="3516"/>
                </a:lnTo>
                <a:lnTo>
                  <a:pt x="0" y="7063"/>
                </a:lnTo>
                <a:lnTo>
                  <a:pt x="0" y="7063"/>
                </a:lnTo>
                <a:lnTo>
                  <a:pt x="8329" y="3516"/>
                </a:lnTo>
                <a:lnTo>
                  <a:pt x="0" y="1"/>
                </a:ln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7" name="Google Shape;1697;p21"/>
          <p:cNvSpPr/>
          <p:nvPr/>
        </p:nvSpPr>
        <p:spPr>
          <a:xfrm>
            <a:off x="113910" y="3757221"/>
            <a:ext cx="8369405" cy="984736"/>
          </a:xfrm>
          <a:custGeom>
            <a:avLst/>
            <a:gdLst/>
            <a:ahLst/>
            <a:cxnLst/>
            <a:rect l="l" t="t" r="r" b="b"/>
            <a:pathLst>
              <a:path w="195684" h="23024" extrusionOk="0">
                <a:moveTo>
                  <a:pt x="0" y="0"/>
                </a:moveTo>
                <a:lnTo>
                  <a:pt x="0" y="2375"/>
                </a:lnTo>
                <a:lnTo>
                  <a:pt x="112837" y="2375"/>
                </a:lnTo>
                <a:lnTo>
                  <a:pt x="128609" y="23023"/>
                </a:lnTo>
                <a:lnTo>
                  <a:pt x="195684" y="23023"/>
                </a:lnTo>
                <a:lnTo>
                  <a:pt x="195684" y="20648"/>
                </a:lnTo>
                <a:lnTo>
                  <a:pt x="129780" y="20648"/>
                </a:lnTo>
                <a:lnTo>
                  <a:pt x="114041" y="0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8" name="Google Shape;1698;p21"/>
          <p:cNvSpPr/>
          <p:nvPr/>
        </p:nvSpPr>
        <p:spPr>
          <a:xfrm>
            <a:off x="8369504" y="4540083"/>
            <a:ext cx="356275" cy="302084"/>
          </a:xfrm>
          <a:custGeom>
            <a:avLst/>
            <a:gdLst/>
            <a:ahLst/>
            <a:cxnLst/>
            <a:rect l="l" t="t" r="r" b="b"/>
            <a:pathLst>
              <a:path w="8330" h="7063" extrusionOk="0">
                <a:moveTo>
                  <a:pt x="0" y="1"/>
                </a:moveTo>
                <a:lnTo>
                  <a:pt x="1489" y="3516"/>
                </a:lnTo>
                <a:lnTo>
                  <a:pt x="0" y="7063"/>
                </a:lnTo>
                <a:lnTo>
                  <a:pt x="8329" y="3516"/>
                </a:lnTo>
                <a:lnTo>
                  <a:pt x="0" y="1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699" name="Google Shape;1699;p21"/>
          <p:cNvSpPr/>
          <p:nvPr/>
        </p:nvSpPr>
        <p:spPr>
          <a:xfrm>
            <a:off x="113910" y="4009136"/>
            <a:ext cx="5896101" cy="1775768"/>
          </a:xfrm>
          <a:custGeom>
            <a:avLst/>
            <a:gdLst/>
            <a:ahLst/>
            <a:cxnLst/>
            <a:rect l="l" t="t" r="r" b="b"/>
            <a:pathLst>
              <a:path w="137856" h="41519" extrusionOk="0">
                <a:moveTo>
                  <a:pt x="0" y="1"/>
                </a:moveTo>
                <a:lnTo>
                  <a:pt x="0" y="2376"/>
                </a:lnTo>
                <a:lnTo>
                  <a:pt x="98745" y="2376"/>
                </a:lnTo>
                <a:lnTo>
                  <a:pt x="128767" y="41075"/>
                </a:lnTo>
                <a:lnTo>
                  <a:pt x="129115" y="41518"/>
                </a:lnTo>
                <a:lnTo>
                  <a:pt x="137856" y="41518"/>
                </a:lnTo>
                <a:lnTo>
                  <a:pt x="137856" y="39143"/>
                </a:lnTo>
                <a:lnTo>
                  <a:pt x="130287" y="39143"/>
                </a:lnTo>
                <a:lnTo>
                  <a:pt x="100265" y="476"/>
                </a:lnTo>
                <a:lnTo>
                  <a:pt x="99916" y="1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0" name="Google Shape;1700;p21"/>
          <p:cNvSpPr/>
          <p:nvPr/>
        </p:nvSpPr>
        <p:spPr>
          <a:xfrm>
            <a:off x="5896200" y="5584399"/>
            <a:ext cx="356275" cy="300716"/>
          </a:xfrm>
          <a:custGeom>
            <a:avLst/>
            <a:gdLst/>
            <a:ahLst/>
            <a:cxnLst/>
            <a:rect l="l" t="t" r="r" b="b"/>
            <a:pathLst>
              <a:path w="8330" h="7031" extrusionOk="0">
                <a:moveTo>
                  <a:pt x="1" y="0"/>
                </a:moveTo>
                <a:lnTo>
                  <a:pt x="1489" y="3516"/>
                </a:lnTo>
                <a:lnTo>
                  <a:pt x="1" y="7031"/>
                </a:lnTo>
                <a:lnTo>
                  <a:pt x="8330" y="3516"/>
                </a:lnTo>
                <a:lnTo>
                  <a:pt x="1" y="0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1" name="Google Shape;1701;p21"/>
          <p:cNvSpPr/>
          <p:nvPr/>
        </p:nvSpPr>
        <p:spPr>
          <a:xfrm>
            <a:off x="745110" y="1935433"/>
            <a:ext cx="3107240" cy="3107197"/>
          </a:xfrm>
          <a:custGeom>
            <a:avLst/>
            <a:gdLst/>
            <a:ahLst/>
            <a:cxnLst/>
            <a:rect l="l" t="t" r="r" b="b"/>
            <a:pathLst>
              <a:path w="72650" h="72649" extrusionOk="0">
                <a:moveTo>
                  <a:pt x="36325" y="0"/>
                </a:moveTo>
                <a:cubicBezTo>
                  <a:pt x="16278" y="0"/>
                  <a:pt x="0" y="16247"/>
                  <a:pt x="0" y="36325"/>
                </a:cubicBezTo>
                <a:cubicBezTo>
                  <a:pt x="0" y="56371"/>
                  <a:pt x="16278" y="72649"/>
                  <a:pt x="36325" y="72649"/>
                </a:cubicBezTo>
                <a:cubicBezTo>
                  <a:pt x="56403" y="72649"/>
                  <a:pt x="72649" y="56371"/>
                  <a:pt x="72649" y="36325"/>
                </a:cubicBezTo>
                <a:cubicBezTo>
                  <a:pt x="72649" y="16247"/>
                  <a:pt x="56403" y="0"/>
                  <a:pt x="36325" y="0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3200" dirty="0">
                <a:latin typeface="Fira Sans Medium"/>
                <a:ea typeface="Fira Sans Medium"/>
                <a:cs typeface="Fira Sans Medium"/>
                <a:sym typeface="Fira Sans Medium"/>
              </a:rPr>
              <a:t>Unique Selling Points per Region</a:t>
            </a:r>
            <a:endParaRPr sz="32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02" name="Google Shape;1702;p21"/>
          <p:cNvSpPr/>
          <p:nvPr/>
        </p:nvSpPr>
        <p:spPr>
          <a:xfrm>
            <a:off x="6371631" y="5066966"/>
            <a:ext cx="2230883" cy="1294947"/>
          </a:xfrm>
          <a:custGeom>
            <a:avLst/>
            <a:gdLst/>
            <a:ahLst/>
            <a:cxnLst/>
            <a:rect l="l" t="t" r="r" b="b"/>
            <a:pathLst>
              <a:path w="52160" h="30277" extrusionOk="0">
                <a:moveTo>
                  <a:pt x="4751" y="1"/>
                </a:moveTo>
                <a:cubicBezTo>
                  <a:pt x="2122" y="1"/>
                  <a:pt x="1" y="2154"/>
                  <a:pt x="1" y="4751"/>
                </a:cubicBezTo>
                <a:lnTo>
                  <a:pt x="1" y="25526"/>
                </a:lnTo>
                <a:cubicBezTo>
                  <a:pt x="1" y="28123"/>
                  <a:pt x="2122" y="30276"/>
                  <a:pt x="4751" y="30276"/>
                </a:cubicBezTo>
                <a:lnTo>
                  <a:pt x="47409" y="30276"/>
                </a:lnTo>
                <a:cubicBezTo>
                  <a:pt x="50006" y="30276"/>
                  <a:pt x="52159" y="28123"/>
                  <a:pt x="52159" y="25526"/>
                </a:cubicBezTo>
                <a:lnTo>
                  <a:pt x="52159" y="4751"/>
                </a:lnTo>
                <a:cubicBezTo>
                  <a:pt x="52159" y="2154"/>
                  <a:pt x="50006" y="1"/>
                  <a:pt x="47409" y="1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3" name="Google Shape;1703;p21"/>
          <p:cNvSpPr/>
          <p:nvPr/>
        </p:nvSpPr>
        <p:spPr>
          <a:xfrm>
            <a:off x="6371632" y="5066966"/>
            <a:ext cx="574359" cy="1294947"/>
          </a:xfrm>
          <a:custGeom>
            <a:avLst/>
            <a:gdLst/>
            <a:ahLst/>
            <a:cxnLst/>
            <a:rect l="l" t="t" r="r" b="b"/>
            <a:pathLst>
              <a:path w="13429" h="30277" extrusionOk="0">
                <a:moveTo>
                  <a:pt x="4751" y="1"/>
                </a:moveTo>
                <a:cubicBezTo>
                  <a:pt x="2154" y="1"/>
                  <a:pt x="1" y="2154"/>
                  <a:pt x="1" y="4751"/>
                </a:cubicBezTo>
                <a:lnTo>
                  <a:pt x="1" y="25526"/>
                </a:lnTo>
                <a:cubicBezTo>
                  <a:pt x="1" y="28123"/>
                  <a:pt x="2154" y="30276"/>
                  <a:pt x="4751" y="30276"/>
                </a:cubicBezTo>
                <a:lnTo>
                  <a:pt x="13428" y="30276"/>
                </a:lnTo>
                <a:lnTo>
                  <a:pt x="13428" y="1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4000">
                <a:solidFill>
                  <a:srgbClr val="FFFFFF"/>
                </a:solidFill>
                <a:latin typeface="Fira Sans SemiBold"/>
                <a:ea typeface="Fira Sans SemiBold"/>
                <a:cs typeface="Fira Sans SemiBold"/>
                <a:sym typeface="Fira Sans SemiBold"/>
              </a:rPr>
              <a:t>3</a:t>
            </a:r>
            <a:endParaRPr sz="4000">
              <a:solidFill>
                <a:srgbClr val="FFFFFF"/>
              </a:solidFill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1704" name="Google Shape;1704;p21"/>
          <p:cNvSpPr/>
          <p:nvPr/>
        </p:nvSpPr>
        <p:spPr>
          <a:xfrm>
            <a:off x="6371631" y="595833"/>
            <a:ext cx="2230883" cy="1294947"/>
          </a:xfrm>
          <a:custGeom>
            <a:avLst/>
            <a:gdLst/>
            <a:ahLst/>
            <a:cxnLst/>
            <a:rect l="l" t="t" r="r" b="b"/>
            <a:pathLst>
              <a:path w="52160" h="30277" extrusionOk="0">
                <a:moveTo>
                  <a:pt x="4751" y="1"/>
                </a:moveTo>
                <a:cubicBezTo>
                  <a:pt x="2122" y="1"/>
                  <a:pt x="1" y="2123"/>
                  <a:pt x="1" y="4751"/>
                </a:cubicBezTo>
                <a:lnTo>
                  <a:pt x="1" y="25526"/>
                </a:lnTo>
                <a:cubicBezTo>
                  <a:pt x="1" y="28123"/>
                  <a:pt x="2122" y="30276"/>
                  <a:pt x="4751" y="30276"/>
                </a:cubicBezTo>
                <a:lnTo>
                  <a:pt x="47409" y="30276"/>
                </a:lnTo>
                <a:cubicBezTo>
                  <a:pt x="50006" y="30276"/>
                  <a:pt x="52159" y="28123"/>
                  <a:pt x="52159" y="25526"/>
                </a:cubicBezTo>
                <a:lnTo>
                  <a:pt x="52159" y="4751"/>
                </a:lnTo>
                <a:cubicBezTo>
                  <a:pt x="52159" y="2123"/>
                  <a:pt x="50006" y="1"/>
                  <a:pt x="47409" y="1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5" name="Google Shape;1705;p21"/>
          <p:cNvSpPr/>
          <p:nvPr/>
        </p:nvSpPr>
        <p:spPr>
          <a:xfrm>
            <a:off x="6371632" y="595833"/>
            <a:ext cx="574359" cy="1294947"/>
          </a:xfrm>
          <a:custGeom>
            <a:avLst/>
            <a:gdLst/>
            <a:ahLst/>
            <a:cxnLst/>
            <a:rect l="l" t="t" r="r" b="b"/>
            <a:pathLst>
              <a:path w="13429" h="30277" extrusionOk="0">
                <a:moveTo>
                  <a:pt x="4751" y="1"/>
                </a:moveTo>
                <a:cubicBezTo>
                  <a:pt x="2154" y="1"/>
                  <a:pt x="1" y="2123"/>
                  <a:pt x="1" y="4751"/>
                </a:cubicBezTo>
                <a:lnTo>
                  <a:pt x="1" y="25526"/>
                </a:lnTo>
                <a:cubicBezTo>
                  <a:pt x="1" y="28123"/>
                  <a:pt x="2154" y="30276"/>
                  <a:pt x="4751" y="30276"/>
                </a:cubicBezTo>
                <a:lnTo>
                  <a:pt x="13428" y="30276"/>
                </a:lnTo>
                <a:lnTo>
                  <a:pt x="13428" y="1"/>
                </a:ln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4000">
                <a:solidFill>
                  <a:srgbClr val="FFFFFF"/>
                </a:solidFill>
                <a:latin typeface="Fira Sans SemiBold"/>
                <a:ea typeface="Fira Sans SemiBold"/>
                <a:cs typeface="Fira Sans SemiBold"/>
                <a:sym typeface="Fira Sans SemiBold"/>
              </a:rPr>
              <a:t>1</a:t>
            </a:r>
            <a:endParaRPr sz="4000">
              <a:solidFill>
                <a:srgbClr val="FFFFFF"/>
              </a:solidFill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1706" name="Google Shape;1706;p21"/>
          <p:cNvSpPr/>
          <p:nvPr/>
        </p:nvSpPr>
        <p:spPr>
          <a:xfrm>
            <a:off x="6371631" y="2832105"/>
            <a:ext cx="2230883" cy="1293579"/>
          </a:xfrm>
          <a:custGeom>
            <a:avLst/>
            <a:gdLst/>
            <a:ahLst/>
            <a:cxnLst/>
            <a:rect l="l" t="t" r="r" b="b"/>
            <a:pathLst>
              <a:path w="52160" h="30245" extrusionOk="0">
                <a:moveTo>
                  <a:pt x="4751" y="0"/>
                </a:moveTo>
                <a:cubicBezTo>
                  <a:pt x="2122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22" y="30244"/>
                  <a:pt x="4751" y="30244"/>
                </a:cubicBezTo>
                <a:lnTo>
                  <a:pt x="47409" y="30244"/>
                </a:lnTo>
                <a:cubicBezTo>
                  <a:pt x="50006" y="30244"/>
                  <a:pt x="52159" y="28122"/>
                  <a:pt x="52159" y="25494"/>
                </a:cubicBezTo>
                <a:lnTo>
                  <a:pt x="52159" y="4751"/>
                </a:lnTo>
                <a:cubicBezTo>
                  <a:pt x="52159" y="2122"/>
                  <a:pt x="50006" y="0"/>
                  <a:pt x="47409" y="0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7" name="Google Shape;1707;p21"/>
          <p:cNvSpPr/>
          <p:nvPr/>
        </p:nvSpPr>
        <p:spPr>
          <a:xfrm>
            <a:off x="6371632" y="2832105"/>
            <a:ext cx="574359" cy="1293579"/>
          </a:xfrm>
          <a:custGeom>
            <a:avLst/>
            <a:gdLst/>
            <a:ahLst/>
            <a:cxnLst/>
            <a:rect l="l" t="t" r="r" b="b"/>
            <a:pathLst>
              <a:path w="13429" h="30245" extrusionOk="0">
                <a:moveTo>
                  <a:pt x="4751" y="0"/>
                </a:moveTo>
                <a:cubicBezTo>
                  <a:pt x="2154" y="0"/>
                  <a:pt x="1" y="2122"/>
                  <a:pt x="1" y="4751"/>
                </a:cubicBezTo>
                <a:lnTo>
                  <a:pt x="1" y="25494"/>
                </a:lnTo>
                <a:cubicBezTo>
                  <a:pt x="1" y="28122"/>
                  <a:pt x="2154" y="30244"/>
                  <a:pt x="4751" y="30244"/>
                </a:cubicBezTo>
                <a:lnTo>
                  <a:pt x="13428" y="30244"/>
                </a:lnTo>
                <a:lnTo>
                  <a:pt x="13428" y="0"/>
                </a:lnTo>
                <a:close/>
              </a:path>
            </a:pathLst>
          </a:custGeom>
          <a:solidFill>
            <a:srgbClr val="CECEC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4000">
                <a:solidFill>
                  <a:srgbClr val="FFFFFF"/>
                </a:solidFill>
                <a:latin typeface="Fira Sans SemiBold"/>
                <a:ea typeface="Fira Sans SemiBold"/>
                <a:cs typeface="Fira Sans SemiBold"/>
                <a:sym typeface="Fira Sans SemiBold"/>
              </a:rPr>
              <a:t>2</a:t>
            </a:r>
            <a:endParaRPr sz="4000">
              <a:solidFill>
                <a:srgbClr val="FFFFFF"/>
              </a:solidFill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1708" name="Google Shape;1708;p21"/>
          <p:cNvSpPr/>
          <p:nvPr/>
        </p:nvSpPr>
        <p:spPr>
          <a:xfrm>
            <a:off x="8854387" y="1713285"/>
            <a:ext cx="2229557" cy="1294947"/>
          </a:xfrm>
          <a:custGeom>
            <a:avLst/>
            <a:gdLst/>
            <a:ahLst/>
            <a:cxnLst/>
            <a:rect l="l" t="t" r="r" b="b"/>
            <a:pathLst>
              <a:path w="52129" h="30277" extrusionOk="0">
                <a:moveTo>
                  <a:pt x="4751" y="1"/>
                </a:moveTo>
                <a:cubicBezTo>
                  <a:pt x="2123" y="1"/>
                  <a:pt x="1" y="2154"/>
                  <a:pt x="1" y="4751"/>
                </a:cubicBezTo>
                <a:lnTo>
                  <a:pt x="1" y="25526"/>
                </a:lnTo>
                <a:cubicBezTo>
                  <a:pt x="1" y="28154"/>
                  <a:pt x="2123" y="30276"/>
                  <a:pt x="4751" y="30276"/>
                </a:cubicBezTo>
                <a:lnTo>
                  <a:pt x="47378" y="30276"/>
                </a:lnTo>
                <a:cubicBezTo>
                  <a:pt x="50006" y="30276"/>
                  <a:pt x="52128" y="28154"/>
                  <a:pt x="52128" y="25526"/>
                </a:cubicBezTo>
                <a:lnTo>
                  <a:pt x="52128" y="4751"/>
                </a:lnTo>
                <a:cubicBezTo>
                  <a:pt x="52128" y="2154"/>
                  <a:pt x="50006" y="1"/>
                  <a:pt x="47378" y="1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09" name="Google Shape;1709;p21"/>
          <p:cNvSpPr/>
          <p:nvPr/>
        </p:nvSpPr>
        <p:spPr>
          <a:xfrm>
            <a:off x="8854388" y="1713285"/>
            <a:ext cx="574359" cy="1294947"/>
          </a:xfrm>
          <a:custGeom>
            <a:avLst/>
            <a:gdLst/>
            <a:ahLst/>
            <a:cxnLst/>
            <a:rect l="l" t="t" r="r" b="b"/>
            <a:pathLst>
              <a:path w="13429" h="30277" extrusionOk="0">
                <a:moveTo>
                  <a:pt x="4751" y="1"/>
                </a:moveTo>
                <a:cubicBezTo>
                  <a:pt x="2123" y="1"/>
                  <a:pt x="1" y="2154"/>
                  <a:pt x="1" y="4751"/>
                </a:cubicBezTo>
                <a:lnTo>
                  <a:pt x="1" y="25526"/>
                </a:lnTo>
                <a:cubicBezTo>
                  <a:pt x="1" y="28154"/>
                  <a:pt x="2123" y="30276"/>
                  <a:pt x="4751" y="30276"/>
                </a:cubicBezTo>
                <a:lnTo>
                  <a:pt x="13429" y="30276"/>
                </a:lnTo>
                <a:lnTo>
                  <a:pt x="13429" y="1"/>
                </a:ln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4000">
                <a:solidFill>
                  <a:srgbClr val="FFFFFF"/>
                </a:solidFill>
                <a:latin typeface="Fira Sans SemiBold"/>
                <a:ea typeface="Fira Sans SemiBold"/>
                <a:cs typeface="Fira Sans SemiBold"/>
                <a:sym typeface="Fira Sans SemiBold"/>
              </a:rPr>
              <a:t>4</a:t>
            </a:r>
            <a:endParaRPr sz="4000">
              <a:solidFill>
                <a:srgbClr val="FFFFFF"/>
              </a:solidFill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1710" name="Google Shape;1710;p21"/>
          <p:cNvSpPr/>
          <p:nvPr/>
        </p:nvSpPr>
        <p:spPr>
          <a:xfrm>
            <a:off x="8854387" y="3949557"/>
            <a:ext cx="2229557" cy="1294904"/>
          </a:xfrm>
          <a:custGeom>
            <a:avLst/>
            <a:gdLst/>
            <a:ahLst/>
            <a:cxnLst/>
            <a:rect l="l" t="t" r="r" b="b"/>
            <a:pathLst>
              <a:path w="52129" h="30276" extrusionOk="0">
                <a:moveTo>
                  <a:pt x="4751" y="0"/>
                </a:moveTo>
                <a:cubicBezTo>
                  <a:pt x="2123" y="0"/>
                  <a:pt x="1" y="2122"/>
                  <a:pt x="1" y="4750"/>
                </a:cubicBezTo>
                <a:lnTo>
                  <a:pt x="1" y="25525"/>
                </a:lnTo>
                <a:cubicBezTo>
                  <a:pt x="1" y="28122"/>
                  <a:pt x="2123" y="30276"/>
                  <a:pt x="4751" y="30276"/>
                </a:cubicBezTo>
                <a:lnTo>
                  <a:pt x="47378" y="30276"/>
                </a:lnTo>
                <a:cubicBezTo>
                  <a:pt x="50006" y="30276"/>
                  <a:pt x="52128" y="28122"/>
                  <a:pt x="52128" y="25525"/>
                </a:cubicBezTo>
                <a:lnTo>
                  <a:pt x="52128" y="4750"/>
                </a:lnTo>
                <a:cubicBezTo>
                  <a:pt x="52128" y="2122"/>
                  <a:pt x="50006" y="0"/>
                  <a:pt x="47378" y="0"/>
                </a:cubicBezTo>
                <a:close/>
              </a:path>
            </a:pathLst>
          </a:custGeom>
          <a:solidFill>
            <a:srgbClr val="F7F9F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1711" name="Google Shape;1711;p21"/>
          <p:cNvSpPr/>
          <p:nvPr/>
        </p:nvSpPr>
        <p:spPr>
          <a:xfrm>
            <a:off x="8854388" y="3949557"/>
            <a:ext cx="574359" cy="1294904"/>
          </a:xfrm>
          <a:custGeom>
            <a:avLst/>
            <a:gdLst/>
            <a:ahLst/>
            <a:cxnLst/>
            <a:rect l="l" t="t" r="r" b="b"/>
            <a:pathLst>
              <a:path w="13429" h="30276" extrusionOk="0">
                <a:moveTo>
                  <a:pt x="4751" y="0"/>
                </a:moveTo>
                <a:cubicBezTo>
                  <a:pt x="2123" y="0"/>
                  <a:pt x="1" y="2122"/>
                  <a:pt x="1" y="4750"/>
                </a:cubicBezTo>
                <a:lnTo>
                  <a:pt x="1" y="25525"/>
                </a:lnTo>
                <a:cubicBezTo>
                  <a:pt x="1" y="28122"/>
                  <a:pt x="2123" y="30276"/>
                  <a:pt x="4751" y="30276"/>
                </a:cubicBezTo>
                <a:lnTo>
                  <a:pt x="13429" y="30276"/>
                </a:lnTo>
                <a:lnTo>
                  <a:pt x="13429" y="0"/>
                </a:lnTo>
                <a:close/>
              </a:path>
            </a:pathLst>
          </a:custGeom>
          <a:solidFill>
            <a:srgbClr val="30475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" sz="4000">
                <a:solidFill>
                  <a:srgbClr val="FFFFFF"/>
                </a:solidFill>
                <a:latin typeface="Fira Sans SemiBold"/>
                <a:ea typeface="Fira Sans SemiBold"/>
                <a:cs typeface="Fira Sans SemiBold"/>
                <a:sym typeface="Fira Sans SemiBold"/>
              </a:rPr>
              <a:t>5</a:t>
            </a:r>
            <a:endParaRPr sz="4000">
              <a:solidFill>
                <a:srgbClr val="FFFFFF"/>
              </a:solidFill>
              <a:latin typeface="Fira Sans SemiBold"/>
              <a:ea typeface="Fira Sans SemiBold"/>
              <a:cs typeface="Fira Sans SemiBold"/>
              <a:sym typeface="Fira Sans SemiBold"/>
            </a:endParaRPr>
          </a:p>
        </p:txBody>
      </p:sp>
      <p:sp>
        <p:nvSpPr>
          <p:cNvPr id="1712" name="Google Shape;1712;p21"/>
          <p:cNvSpPr txBox="1"/>
          <p:nvPr/>
        </p:nvSpPr>
        <p:spPr>
          <a:xfrm>
            <a:off x="6884483" y="491618"/>
            <a:ext cx="1656400" cy="4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dirty="0">
                <a:latin typeface="Fira Sans Medium"/>
                <a:ea typeface="Fira Sans Medium"/>
                <a:cs typeface="Fira Sans Medium"/>
                <a:sym typeface="Fira Sans Medium"/>
              </a:rPr>
              <a:t>Denmark</a:t>
            </a:r>
            <a:endParaRPr sz="24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13" name="Google Shape;1713;p21"/>
          <p:cNvSpPr txBox="1"/>
          <p:nvPr/>
        </p:nvSpPr>
        <p:spPr>
          <a:xfrm>
            <a:off x="6884483" y="979574"/>
            <a:ext cx="2481564" cy="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Customized Danish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1600" dirty="0">
                <a:latin typeface="Fira Sans"/>
                <a:ea typeface="Fira Sans"/>
                <a:cs typeface="Fira Sans"/>
                <a:sym typeface="Fira Sans"/>
              </a:rPr>
              <a:t>Digital Learning Solutions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14" name="Google Shape;1714;p21"/>
          <p:cNvSpPr txBox="1"/>
          <p:nvPr/>
        </p:nvSpPr>
        <p:spPr>
          <a:xfrm>
            <a:off x="6945980" y="2831386"/>
            <a:ext cx="1656400" cy="4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dirty="0">
                <a:latin typeface="Fira Sans Medium"/>
                <a:ea typeface="Fira Sans Medium"/>
                <a:cs typeface="Fira Sans Medium"/>
                <a:sym typeface="Fira Sans Medium"/>
              </a:rPr>
              <a:t>Finland</a:t>
            </a:r>
            <a:endParaRPr sz="24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15" name="Google Shape;1715;p21"/>
          <p:cNvSpPr txBox="1"/>
          <p:nvPr/>
        </p:nvSpPr>
        <p:spPr>
          <a:xfrm>
            <a:off x="6890492" y="3316236"/>
            <a:ext cx="1779799" cy="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Pedagogical Excell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Personalized Learning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16" name="Google Shape;1716;p21"/>
          <p:cNvSpPr txBox="1"/>
          <p:nvPr/>
        </p:nvSpPr>
        <p:spPr>
          <a:xfrm>
            <a:off x="6945980" y="5079186"/>
            <a:ext cx="1656400" cy="4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dirty="0">
                <a:latin typeface="Fira Sans Medium"/>
                <a:ea typeface="Fira Sans Medium"/>
                <a:cs typeface="Fira Sans Medium"/>
                <a:sym typeface="Fira Sans Medium"/>
              </a:rPr>
              <a:t>Iceland</a:t>
            </a:r>
            <a:endParaRPr sz="24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17" name="Google Shape;1717;p21"/>
          <p:cNvSpPr txBox="1"/>
          <p:nvPr/>
        </p:nvSpPr>
        <p:spPr>
          <a:xfrm>
            <a:off x="6884483" y="5654398"/>
            <a:ext cx="1656400" cy="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Bilingual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Adap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18" name="Google Shape;1718;p21"/>
          <p:cNvSpPr txBox="1"/>
          <p:nvPr/>
        </p:nvSpPr>
        <p:spPr>
          <a:xfrm>
            <a:off x="9427547" y="3955620"/>
            <a:ext cx="1656400" cy="4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dirty="0">
                <a:latin typeface="Fira Sans Medium"/>
                <a:ea typeface="Fira Sans Medium"/>
                <a:cs typeface="Fira Sans Medium"/>
                <a:sym typeface="Fira Sans Medium"/>
              </a:rPr>
              <a:t>Sweden</a:t>
            </a:r>
            <a:endParaRPr sz="24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19" name="Google Shape;1719;p21"/>
          <p:cNvSpPr txBox="1"/>
          <p:nvPr/>
        </p:nvSpPr>
        <p:spPr>
          <a:xfrm>
            <a:off x="9427547" y="4441208"/>
            <a:ext cx="1656400" cy="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Innovative Learning Solutions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1720" name="Google Shape;1720;p21"/>
          <p:cNvSpPr txBox="1"/>
          <p:nvPr/>
        </p:nvSpPr>
        <p:spPr>
          <a:xfrm>
            <a:off x="9427547" y="1719353"/>
            <a:ext cx="1656400" cy="4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sz="2400" dirty="0">
                <a:latin typeface="Fira Sans Medium"/>
                <a:ea typeface="Fira Sans Medium"/>
                <a:cs typeface="Fira Sans Medium"/>
                <a:sym typeface="Fira Sans Medium"/>
              </a:rPr>
              <a:t>Norway</a:t>
            </a:r>
            <a:endParaRPr sz="2400" dirty="0"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1721" name="Google Shape;1721;p21"/>
          <p:cNvSpPr txBox="1"/>
          <p:nvPr/>
        </p:nvSpPr>
        <p:spPr>
          <a:xfrm>
            <a:off x="9412527" y="2222286"/>
            <a:ext cx="1862494" cy="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Local Content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latin typeface="Fira Sans"/>
                <a:ea typeface="Fira Sans"/>
                <a:cs typeface="Fira Sans"/>
                <a:sym typeface="Fira Sans"/>
              </a:rPr>
              <a:t>Teacher Support</a:t>
            </a:r>
            <a:endParaRPr sz="1600" dirty="0">
              <a:latin typeface="Fira Sans"/>
              <a:ea typeface="Fira Sans"/>
              <a:cs typeface="Fira Sans"/>
              <a:sym typeface="Fira San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62A2C7-D0F4-3851-AF01-87412701C0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22CDF2A-52B3-7F5E-64E0-504E9896BF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A7D69-E03F-DD5D-353A-5B290C9CA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670" y="2018911"/>
            <a:ext cx="5393600" cy="1976400"/>
          </a:xfrm>
        </p:spPr>
        <p:txBody>
          <a:bodyPr/>
          <a:lstStyle/>
          <a:p>
            <a:r>
              <a:rPr lang="en-IN" dirty="0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ADBD41-2989-6575-298C-C92C2792B3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489" y="2018911"/>
            <a:ext cx="4887022" cy="28198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16C190-A088-B8A5-6578-CC0CD49F10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4CED8-EFB7-B30F-B6AC-AF6B721F59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385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2E8B9-6AE3-4142-20C3-F46B6F1BC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302" y="1015069"/>
            <a:ext cx="4383896" cy="965469"/>
          </a:xfrm>
        </p:spPr>
        <p:txBody>
          <a:bodyPr>
            <a:normAutofit/>
          </a:bodyPr>
          <a:lstStyle/>
          <a:p>
            <a:r>
              <a:rPr lang="en-IN" dirty="0"/>
              <a:t>Company Introduc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784231-2A89-7A4B-55DA-2F04887B76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5291" y="685800"/>
            <a:ext cx="5578042" cy="5486400"/>
          </a:xfrm>
        </p:spPr>
        <p:txBody>
          <a:bodyPr>
            <a:normAutofit/>
          </a:bodyPr>
          <a:lstStyle/>
          <a:p>
            <a:endParaRPr lang="en-IN" dirty="0"/>
          </a:p>
          <a:p>
            <a:endParaRPr lang="en-IN" dirty="0"/>
          </a:p>
          <a:p>
            <a:r>
              <a:rPr lang="en-IN" dirty="0"/>
              <a:t>McGraw Hill Complete</a:t>
            </a:r>
          </a:p>
          <a:p>
            <a:pPr lvl="1" algn="just"/>
            <a:r>
              <a:rPr lang="en-US" dirty="0"/>
              <a:t>Subscription model that offers institutions unlimited access to more than 1,600 eBooks from McGraw Hill and Open University Press across a wide range of disciplines and course areas.</a:t>
            </a:r>
          </a:p>
          <a:p>
            <a:pPr lvl="1"/>
            <a:endParaRPr lang="en-US" dirty="0"/>
          </a:p>
          <a:p>
            <a:r>
              <a:rPr lang="en-US" dirty="0"/>
              <a:t>McGraw Hill Complete Plus </a:t>
            </a:r>
          </a:p>
          <a:p>
            <a:pPr lvl="1" algn="just"/>
            <a:r>
              <a:rPr lang="en-US" dirty="0"/>
              <a:t>Gives students access not only to thousands of eBooks but also the company’s award-winning coursewar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08C332-33AA-E38B-44B7-633064A677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9209" y="2299978"/>
            <a:ext cx="4576082" cy="3872222"/>
          </a:xfrm>
        </p:spPr>
        <p:txBody>
          <a:bodyPr>
            <a:norm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/>
              <a:t>McGraw Hill is one of the world’s largest educational companie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/>
              <a:t>For over 130 years, we have never stopped innovating to meet the ever-changing needs of educators and learners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/>
              <a:t>The majority of MH’s product development and research happens in the US.</a:t>
            </a:r>
            <a:endParaRPr lang="en-IN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946886-E967-EF00-6983-CC171211482E}"/>
              </a:ext>
            </a:extLst>
          </p:cNvPr>
          <p:cNvSpPr txBox="1"/>
          <p:nvPr/>
        </p:nvSpPr>
        <p:spPr>
          <a:xfrm>
            <a:off x="5151197" y="707276"/>
            <a:ext cx="6102220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900" spc="-50" dirty="0">
                <a:latin typeface="+mj-lt"/>
                <a:ea typeface="+mj-ea"/>
                <a:cs typeface="+mj-cs"/>
              </a:rPr>
              <a:t>Product in Focu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FBAF1E-1C67-8C4C-E4D6-E5B79A2E5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3A594B4-6BF4-AA21-AC9F-FC907A051A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581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 Placeholder 1">
            <a:extLst>
              <a:ext uri="{FF2B5EF4-FFF2-40B4-BE49-F238E27FC236}">
                <a16:creationId xmlns:a16="http://schemas.microsoft.com/office/drawing/2014/main" id="{DE3B1A6B-858B-5EE2-175A-C679B7F50123}"/>
              </a:ext>
            </a:extLst>
          </p:cNvPr>
          <p:cNvSpPr txBox="1">
            <a:spLocks/>
          </p:cNvSpPr>
          <p:nvPr/>
        </p:nvSpPr>
        <p:spPr>
          <a:xfrm>
            <a:off x="1455576" y="360971"/>
            <a:ext cx="7942424" cy="5355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+mj-lt"/>
              </a:rPr>
              <a:t>Project Objectiv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BB053CE-47A0-1F5B-A1AF-6737B6D7A37C}"/>
              </a:ext>
            </a:extLst>
          </p:cNvPr>
          <p:cNvCxnSpPr/>
          <p:nvPr/>
        </p:nvCxnSpPr>
        <p:spPr>
          <a:xfrm>
            <a:off x="4430539" y="1853370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2CE08DE-9BBA-140E-C9E4-0A1F95CA9A5C}"/>
              </a:ext>
            </a:extLst>
          </p:cNvPr>
          <p:cNvGrpSpPr/>
          <p:nvPr/>
        </p:nvGrpSpPr>
        <p:grpSpPr>
          <a:xfrm>
            <a:off x="5476234" y="1699997"/>
            <a:ext cx="4261186" cy="637407"/>
            <a:chOff x="3922909" y="1906532"/>
            <a:chExt cx="4261186" cy="63740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144729B-1A5A-C2ED-762B-99307FFBFCDE}"/>
                </a:ext>
              </a:extLst>
            </p:cNvPr>
            <p:cNvSpPr txBox="1"/>
            <p:nvPr/>
          </p:nvSpPr>
          <p:spPr>
            <a:xfrm>
              <a:off x="3957489" y="2205385"/>
              <a:ext cx="4226606" cy="33855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/>
                <a:t>P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ublic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spending on education varying between 6% and 8% of GDP.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AE4C54E-76CF-2289-AE08-F0371247D04F}"/>
                </a:ext>
              </a:extLst>
            </p:cNvPr>
            <p:cNvSpPr txBox="1"/>
            <p:nvPr/>
          </p:nvSpPr>
          <p:spPr>
            <a:xfrm>
              <a:off x="3922909" y="1906532"/>
              <a:ext cx="1661684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Marketing Size</a:t>
              </a:r>
            </a:p>
          </p:txBody>
        </p:sp>
      </p:grp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44768B4D-44C1-9D97-842E-5F43614DA253}"/>
              </a:ext>
            </a:extLst>
          </p:cNvPr>
          <p:cNvCxnSpPr/>
          <p:nvPr/>
        </p:nvCxnSpPr>
        <p:spPr>
          <a:xfrm>
            <a:off x="4997630" y="2813734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67308739-2834-91AE-4059-8564A767B8C7}"/>
              </a:ext>
            </a:extLst>
          </p:cNvPr>
          <p:cNvGrpSpPr/>
          <p:nvPr/>
        </p:nvGrpSpPr>
        <p:grpSpPr>
          <a:xfrm>
            <a:off x="6043325" y="2660362"/>
            <a:ext cx="4479812" cy="767701"/>
            <a:chOff x="4490000" y="2866897"/>
            <a:chExt cx="4479812" cy="767701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6F45D00E-B287-A4CC-00E0-E0B1F5E6EEFD}"/>
                </a:ext>
              </a:extLst>
            </p:cNvPr>
            <p:cNvSpPr txBox="1"/>
            <p:nvPr/>
          </p:nvSpPr>
          <p:spPr>
            <a:xfrm>
              <a:off x="4586060" y="3126767"/>
              <a:ext cx="4383752" cy="5078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Providing interactive and adaptable content, supporting personalized learning, and integrating technology seamlessly into education.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D9A7320-8A4D-657D-2403-00AC6C3BC2A2}"/>
                </a:ext>
              </a:extLst>
            </p:cNvPr>
            <p:cNvSpPr txBox="1"/>
            <p:nvPr/>
          </p:nvSpPr>
          <p:spPr>
            <a:xfrm>
              <a:off x="4490000" y="2866897"/>
              <a:ext cx="2755442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ea typeface="+mn-ea"/>
                  <a:cs typeface="+mn-cs"/>
                </a:rPr>
                <a:t>Product-Market Fit</a:t>
              </a:r>
            </a:p>
          </p:txBody>
        </p:sp>
      </p:grp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248286C-8E4F-D869-B80A-68E691737592}"/>
              </a:ext>
            </a:extLst>
          </p:cNvPr>
          <p:cNvCxnSpPr/>
          <p:nvPr/>
        </p:nvCxnSpPr>
        <p:spPr>
          <a:xfrm>
            <a:off x="5474211" y="3681052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48E6603-B3F0-D5B6-73F6-65C05C5266AC}"/>
              </a:ext>
            </a:extLst>
          </p:cNvPr>
          <p:cNvGrpSpPr/>
          <p:nvPr/>
        </p:nvGrpSpPr>
        <p:grpSpPr>
          <a:xfrm>
            <a:off x="6519905" y="3584602"/>
            <a:ext cx="4016707" cy="649602"/>
            <a:chOff x="4966580" y="3734214"/>
            <a:chExt cx="4016707" cy="649602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D1A89D9A-7400-4D88-A637-FC431FFAAF70}"/>
                </a:ext>
              </a:extLst>
            </p:cNvPr>
            <p:cNvSpPr txBox="1"/>
            <p:nvPr/>
          </p:nvSpPr>
          <p:spPr>
            <a:xfrm>
              <a:off x="5002606" y="4045262"/>
              <a:ext cx="3980681" cy="33855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Educators, students, and professionals across all age groups are potential users.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F336615-C256-08D0-18CA-98F142FD2165}"/>
                </a:ext>
              </a:extLst>
            </p:cNvPr>
            <p:cNvSpPr txBox="1"/>
            <p:nvPr/>
          </p:nvSpPr>
          <p:spPr>
            <a:xfrm>
              <a:off x="4966580" y="3734214"/>
              <a:ext cx="1877645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8D2D2"/>
                  </a:solidFill>
                  <a:effectLst/>
                  <a:uLnTx/>
                  <a:uFillTx/>
                  <a:ea typeface="+mn-ea"/>
                  <a:cs typeface="+mn-cs"/>
                </a:rPr>
                <a:t> Target Audience</a:t>
              </a:r>
            </a:p>
          </p:txBody>
        </p:sp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D133C64-C22B-D475-8EA1-7E5BCAB375C2}"/>
              </a:ext>
            </a:extLst>
          </p:cNvPr>
          <p:cNvCxnSpPr/>
          <p:nvPr/>
        </p:nvCxnSpPr>
        <p:spPr>
          <a:xfrm>
            <a:off x="5997058" y="4642225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97CD7EB-C9BC-DC6F-06E3-926951CEAFF3}"/>
              </a:ext>
            </a:extLst>
          </p:cNvPr>
          <p:cNvGrpSpPr/>
          <p:nvPr/>
        </p:nvGrpSpPr>
        <p:grpSpPr>
          <a:xfrm>
            <a:off x="7042753" y="4488852"/>
            <a:ext cx="4063862" cy="852170"/>
            <a:chOff x="5489428" y="4695387"/>
            <a:chExt cx="4063862" cy="852170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2629057-8B0E-0B51-C109-021C8EF1CB73}"/>
                </a:ext>
              </a:extLst>
            </p:cNvPr>
            <p:cNvSpPr txBox="1"/>
            <p:nvPr/>
          </p:nvSpPr>
          <p:spPr>
            <a:xfrm>
              <a:off x="5489428" y="5039726"/>
              <a:ext cx="4063862" cy="5078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Competitors include global educational publishers like Pearson, Cengage, and Wiley, as well as local educational publishers and technology companies.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4B126DA-20EF-4C1F-66E2-2EDEF60A9306}"/>
                </a:ext>
              </a:extLst>
            </p:cNvPr>
            <p:cNvSpPr txBox="1"/>
            <p:nvPr/>
          </p:nvSpPr>
          <p:spPr>
            <a:xfrm>
              <a:off x="5489428" y="4695387"/>
              <a:ext cx="3296528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B3939"/>
                  </a:solidFill>
                  <a:effectLst/>
                  <a:uLnTx/>
                  <a:uFillTx/>
                  <a:ea typeface="+mn-ea"/>
                  <a:cs typeface="+mn-cs"/>
                </a:rPr>
                <a:t>Competition and Demand</a:t>
              </a:r>
            </a:p>
          </p:txBody>
        </p:sp>
      </p:grp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711FD4B-297B-37C8-7D30-6354164CB299}"/>
              </a:ext>
            </a:extLst>
          </p:cNvPr>
          <p:cNvCxnSpPr/>
          <p:nvPr/>
        </p:nvCxnSpPr>
        <p:spPr>
          <a:xfrm>
            <a:off x="6555931" y="5605725"/>
            <a:ext cx="90237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046E1885-B10D-34D8-CDC5-F5F864868687}"/>
              </a:ext>
            </a:extLst>
          </p:cNvPr>
          <p:cNvGrpSpPr/>
          <p:nvPr/>
        </p:nvGrpSpPr>
        <p:grpSpPr>
          <a:xfrm>
            <a:off x="7601626" y="5452353"/>
            <a:ext cx="3504989" cy="986524"/>
            <a:chOff x="6048301" y="5658888"/>
            <a:chExt cx="3504989" cy="986524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A580015-65E2-9158-FE69-1DC35DE9224F}"/>
                </a:ext>
              </a:extLst>
            </p:cNvPr>
            <p:cNvSpPr txBox="1"/>
            <p:nvPr/>
          </p:nvSpPr>
          <p:spPr>
            <a:xfrm>
              <a:off x="6048301" y="5968304"/>
              <a:ext cx="3504989" cy="67710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rect sales on the company's website, partnerships with educational distributors, and collaborations with educational institutions' learning management systems.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CE4BF30-CE08-8F9B-2EBB-F5D1E3B8117F}"/>
                </a:ext>
              </a:extLst>
            </p:cNvPr>
            <p:cNvSpPr txBox="1"/>
            <p:nvPr/>
          </p:nvSpPr>
          <p:spPr>
            <a:xfrm>
              <a:off x="6048301" y="5658888"/>
              <a:ext cx="1796374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2583D"/>
                  </a:solidFill>
                  <a:effectLst/>
                  <a:uLnTx/>
                  <a:uFillTx/>
                  <a:ea typeface="+mn-ea"/>
                  <a:cs typeface="+mn-cs"/>
                </a:rPr>
                <a:t>Distribution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330B1E7D-9E44-4C67-B583-86C07CC8580B}"/>
              </a:ext>
            </a:extLst>
          </p:cNvPr>
          <p:cNvGrpSpPr/>
          <p:nvPr/>
        </p:nvGrpSpPr>
        <p:grpSpPr>
          <a:xfrm>
            <a:off x="3873303" y="1482564"/>
            <a:ext cx="920138" cy="1098905"/>
            <a:chOff x="2303504" y="1689099"/>
            <a:chExt cx="920138" cy="1098905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751B8A9E-638C-6103-3543-C3AA2E657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504" y="2308609"/>
              <a:ext cx="920138" cy="479395"/>
            </a:xfrm>
            <a:custGeom>
              <a:avLst/>
              <a:gdLst>
                <a:gd name="T0" fmla="*/ 0 w 725"/>
                <a:gd name="T1" fmla="*/ 123 h 378"/>
                <a:gd name="T2" fmla="*/ 725 w 725"/>
                <a:gd name="T3" fmla="*/ 214 h 378"/>
                <a:gd name="T4" fmla="*/ 177 w 725"/>
                <a:gd name="T5" fmla="*/ 0 h 378"/>
                <a:gd name="T6" fmla="*/ 0 w 725"/>
                <a:gd name="T7" fmla="*/ 123 h 378"/>
                <a:gd name="T8" fmla="*/ 0 w 725"/>
                <a:gd name="T9" fmla="*/ 123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5" h="378">
                  <a:moveTo>
                    <a:pt x="0" y="123"/>
                  </a:moveTo>
                  <a:cubicBezTo>
                    <a:pt x="0" y="123"/>
                    <a:pt x="301" y="378"/>
                    <a:pt x="725" y="214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A3259E4C-4ACD-A246-B309-2B5DFEB90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504" y="1689099"/>
              <a:ext cx="420343" cy="775729"/>
            </a:xfrm>
            <a:custGeom>
              <a:avLst/>
              <a:gdLst>
                <a:gd name="T0" fmla="*/ 0 w 331"/>
                <a:gd name="T1" fmla="*/ 611 h 611"/>
                <a:gd name="T2" fmla="*/ 153 w 331"/>
                <a:gd name="T3" fmla="*/ 578 h 611"/>
                <a:gd name="T4" fmla="*/ 330 w 331"/>
                <a:gd name="T5" fmla="*/ 0 h 611"/>
                <a:gd name="T6" fmla="*/ 0 w 331"/>
                <a:gd name="T7" fmla="*/ 611 h 611"/>
                <a:gd name="T8" fmla="*/ 0 w 331"/>
                <a:gd name="T9" fmla="*/ 611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1" h="611">
                  <a:moveTo>
                    <a:pt x="0" y="611"/>
                  </a:moveTo>
                  <a:cubicBezTo>
                    <a:pt x="0" y="611"/>
                    <a:pt x="112" y="611"/>
                    <a:pt x="153" y="578"/>
                  </a:cubicBezTo>
                  <a:cubicBezTo>
                    <a:pt x="331" y="1"/>
                    <a:pt x="330" y="0"/>
                    <a:pt x="330" y="0"/>
                  </a:cubicBezTo>
                  <a:cubicBezTo>
                    <a:pt x="0" y="611"/>
                    <a:pt x="0" y="611"/>
                    <a:pt x="0" y="611"/>
                  </a:cubicBezTo>
                  <a:cubicBezTo>
                    <a:pt x="0" y="611"/>
                    <a:pt x="0" y="611"/>
                    <a:pt x="0" y="611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F5C59178-23F5-AE03-1255-51A1BA754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839" y="1689099"/>
              <a:ext cx="725803" cy="1001201"/>
            </a:xfrm>
            <a:custGeom>
              <a:avLst/>
              <a:gdLst>
                <a:gd name="T0" fmla="*/ 572 w 572"/>
                <a:gd name="T1" fmla="*/ 702 h 789"/>
                <a:gd name="T2" fmla="*/ 177 w 572"/>
                <a:gd name="T3" fmla="*/ 0 h 789"/>
                <a:gd name="T4" fmla="*/ 0 w 572"/>
                <a:gd name="T5" fmla="*/ 578 h 789"/>
                <a:gd name="T6" fmla="*/ 572 w 572"/>
                <a:gd name="T7" fmla="*/ 702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2" h="789">
                  <a:moveTo>
                    <a:pt x="572" y="702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78"/>
                    <a:pt x="317" y="789"/>
                    <a:pt x="572" y="702"/>
                  </a:cubicBezTo>
                  <a:close/>
                </a:path>
              </a:pathLst>
            </a:custGeom>
            <a:solidFill>
              <a:srgbClr val="E87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AEC58A9-FD6B-9AA5-E688-0CCCBC54F3B6}"/>
              </a:ext>
            </a:extLst>
          </p:cNvPr>
          <p:cNvGrpSpPr/>
          <p:nvPr/>
        </p:nvGrpSpPr>
        <p:grpSpPr>
          <a:xfrm>
            <a:off x="3401423" y="2296409"/>
            <a:ext cx="1906308" cy="1485964"/>
            <a:chOff x="1831624" y="2502944"/>
            <a:chExt cx="1906308" cy="1485964"/>
          </a:xfrm>
        </p:grpSpPr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7814263F-A74B-00B7-72B9-3D154CEDB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624" y="3059643"/>
              <a:ext cx="1906308" cy="929265"/>
            </a:xfrm>
            <a:custGeom>
              <a:avLst/>
              <a:gdLst>
                <a:gd name="T0" fmla="*/ 10 w 1502"/>
                <a:gd name="T1" fmla="*/ 207 h 732"/>
                <a:gd name="T2" fmla="*/ 1502 w 1502"/>
                <a:gd name="T3" fmla="*/ 348 h 732"/>
                <a:gd name="T4" fmla="*/ 751 w 1502"/>
                <a:gd name="T5" fmla="*/ 58 h 732"/>
                <a:gd name="T6" fmla="*/ 219 w 1502"/>
                <a:gd name="T7" fmla="*/ 0 h 732"/>
                <a:gd name="T8" fmla="*/ 10 w 1502"/>
                <a:gd name="T9" fmla="*/ 207 h 732"/>
                <a:gd name="T10" fmla="*/ 0 w 1502"/>
                <a:gd name="T11" fmla="*/ 207 h 732"/>
                <a:gd name="T12" fmla="*/ 10 w 1502"/>
                <a:gd name="T13" fmla="*/ 207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2" h="732">
                  <a:moveTo>
                    <a:pt x="10" y="207"/>
                  </a:moveTo>
                  <a:cubicBezTo>
                    <a:pt x="10" y="207"/>
                    <a:pt x="796" y="732"/>
                    <a:pt x="1502" y="348"/>
                  </a:cubicBezTo>
                  <a:cubicBezTo>
                    <a:pt x="751" y="58"/>
                    <a:pt x="751" y="58"/>
                    <a:pt x="751" y="58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10" y="207"/>
                    <a:pt x="10" y="207"/>
                    <a:pt x="10" y="207"/>
                  </a:cubicBezTo>
                  <a:cubicBezTo>
                    <a:pt x="0" y="207"/>
                    <a:pt x="0" y="207"/>
                    <a:pt x="0" y="207"/>
                  </a:cubicBezTo>
                  <a:lnTo>
                    <a:pt x="10" y="207"/>
                  </a:lnTo>
                  <a:close/>
                </a:path>
              </a:pathLst>
            </a:custGeom>
            <a:solidFill>
              <a:srgbClr val="767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2C39DF4A-9F63-7869-29A7-3514C5E9A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508" y="2502944"/>
              <a:ext cx="638299" cy="819750"/>
            </a:xfrm>
            <a:custGeom>
              <a:avLst/>
              <a:gdLst>
                <a:gd name="T0" fmla="*/ 330 w 503"/>
                <a:gd name="T1" fmla="*/ 45 h 646"/>
                <a:gd name="T2" fmla="*/ 503 w 503"/>
                <a:gd name="T3" fmla="*/ 0 h 646"/>
                <a:gd name="T4" fmla="*/ 330 w 503"/>
                <a:gd name="T5" fmla="*/ 568 h 646"/>
                <a:gd name="T6" fmla="*/ 0 w 503"/>
                <a:gd name="T7" fmla="*/ 646 h 646"/>
                <a:gd name="T8" fmla="*/ 330 w 503"/>
                <a:gd name="T9" fmla="*/ 45 h 646"/>
                <a:gd name="T10" fmla="*/ 330 w 503"/>
                <a:gd name="T11" fmla="*/ 45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" h="646">
                  <a:moveTo>
                    <a:pt x="330" y="45"/>
                  </a:moveTo>
                  <a:cubicBezTo>
                    <a:pt x="503" y="0"/>
                    <a:pt x="503" y="0"/>
                    <a:pt x="503" y="0"/>
                  </a:cubicBezTo>
                  <a:cubicBezTo>
                    <a:pt x="330" y="568"/>
                    <a:pt x="330" y="568"/>
                    <a:pt x="330" y="568"/>
                  </a:cubicBezTo>
                  <a:cubicBezTo>
                    <a:pt x="330" y="568"/>
                    <a:pt x="41" y="646"/>
                    <a:pt x="0" y="646"/>
                  </a:cubicBezTo>
                  <a:cubicBezTo>
                    <a:pt x="330" y="45"/>
                    <a:pt x="330" y="45"/>
                    <a:pt x="330" y="45"/>
                  </a:cubicBezTo>
                  <a:cubicBezTo>
                    <a:pt x="330" y="45"/>
                    <a:pt x="330" y="45"/>
                    <a:pt x="330" y="45"/>
                  </a:cubicBezTo>
                  <a:close/>
                </a:path>
              </a:pathLst>
            </a:custGeom>
            <a:solidFill>
              <a:srgbClr val="AF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6A9FC205-211E-73EF-A919-243B2EF0A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1631" y="2502944"/>
              <a:ext cx="1476301" cy="1233114"/>
            </a:xfrm>
            <a:custGeom>
              <a:avLst/>
              <a:gdLst>
                <a:gd name="T0" fmla="*/ 787 w 1163"/>
                <a:gd name="T1" fmla="*/ 128 h 972"/>
                <a:gd name="T2" fmla="*/ 1163 w 1163"/>
                <a:gd name="T3" fmla="*/ 787 h 972"/>
                <a:gd name="T4" fmla="*/ 0 w 1163"/>
                <a:gd name="T5" fmla="*/ 569 h 972"/>
                <a:gd name="T6" fmla="*/ 173 w 1163"/>
                <a:gd name="T7" fmla="*/ 0 h 972"/>
                <a:gd name="T8" fmla="*/ 787 w 1163"/>
                <a:gd name="T9" fmla="*/ 128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3" h="972">
                  <a:moveTo>
                    <a:pt x="787" y="128"/>
                  </a:moveTo>
                  <a:cubicBezTo>
                    <a:pt x="1163" y="787"/>
                    <a:pt x="1163" y="787"/>
                    <a:pt x="1163" y="787"/>
                  </a:cubicBezTo>
                  <a:cubicBezTo>
                    <a:pt x="1163" y="787"/>
                    <a:pt x="528" y="972"/>
                    <a:pt x="0" y="569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0"/>
                    <a:pt x="511" y="218"/>
                    <a:pt x="787" y="128"/>
                  </a:cubicBezTo>
                  <a:close/>
                </a:path>
              </a:pathLst>
            </a:custGeom>
            <a:solidFill>
              <a:srgbClr val="E7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EF37D59-F71A-88B0-93FE-37DDCD442B12}"/>
              </a:ext>
            </a:extLst>
          </p:cNvPr>
          <p:cNvGrpSpPr/>
          <p:nvPr/>
        </p:nvGrpSpPr>
        <p:grpSpPr>
          <a:xfrm>
            <a:off x="2935449" y="3074285"/>
            <a:ext cx="2889793" cy="1785519"/>
            <a:chOff x="1365650" y="3280820"/>
            <a:chExt cx="2889793" cy="1785519"/>
          </a:xfrm>
        </p:grpSpPr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5AEC78CA-D89E-4800-AC5C-CC7844C2C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650" y="3908919"/>
              <a:ext cx="2889793" cy="1157420"/>
            </a:xfrm>
            <a:custGeom>
              <a:avLst/>
              <a:gdLst>
                <a:gd name="T0" fmla="*/ 0 w 2277"/>
                <a:gd name="T1" fmla="*/ 239 h 912"/>
                <a:gd name="T2" fmla="*/ 2277 w 2277"/>
                <a:gd name="T3" fmla="*/ 367 h 912"/>
                <a:gd name="T4" fmla="*/ 549 w 2277"/>
                <a:gd name="T5" fmla="*/ 0 h 912"/>
                <a:gd name="T6" fmla="*/ 0 w 2277"/>
                <a:gd name="T7" fmla="*/ 239 h 912"/>
                <a:gd name="T8" fmla="*/ 0 w 2277"/>
                <a:gd name="T9" fmla="*/ 239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7" h="912">
                  <a:moveTo>
                    <a:pt x="0" y="239"/>
                  </a:moveTo>
                  <a:cubicBezTo>
                    <a:pt x="0" y="239"/>
                    <a:pt x="1345" y="912"/>
                    <a:pt x="2277" y="367"/>
                  </a:cubicBezTo>
                  <a:cubicBezTo>
                    <a:pt x="549" y="0"/>
                    <a:pt x="549" y="0"/>
                    <a:pt x="549" y="0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239"/>
                    <a:pt x="0" y="239"/>
                    <a:pt x="0" y="239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4C021223-DC14-8A1B-5798-BBA6A4705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650" y="3280820"/>
              <a:ext cx="880949" cy="932486"/>
            </a:xfrm>
            <a:custGeom>
              <a:avLst/>
              <a:gdLst>
                <a:gd name="T0" fmla="*/ 330 w 694"/>
                <a:gd name="T1" fmla="*/ 120 h 735"/>
                <a:gd name="T2" fmla="*/ 0 w 694"/>
                <a:gd name="T3" fmla="*/ 735 h 735"/>
                <a:gd name="T4" fmla="*/ 525 w 694"/>
                <a:gd name="T5" fmla="*/ 594 h 735"/>
                <a:gd name="T6" fmla="*/ 694 w 694"/>
                <a:gd name="T7" fmla="*/ 0 h 735"/>
                <a:gd name="T8" fmla="*/ 330 w 694"/>
                <a:gd name="T9" fmla="*/ 120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4" h="735">
                  <a:moveTo>
                    <a:pt x="330" y="120"/>
                  </a:moveTo>
                  <a:cubicBezTo>
                    <a:pt x="0" y="735"/>
                    <a:pt x="0" y="735"/>
                    <a:pt x="0" y="735"/>
                  </a:cubicBezTo>
                  <a:cubicBezTo>
                    <a:pt x="0" y="735"/>
                    <a:pt x="484" y="606"/>
                    <a:pt x="525" y="594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94" y="0"/>
                    <a:pt x="372" y="112"/>
                    <a:pt x="330" y="120"/>
                  </a:cubicBezTo>
                  <a:close/>
                </a:path>
              </a:pathLst>
            </a:custGeom>
            <a:solidFill>
              <a:srgbClr val="78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786B2994-9FD2-F8AE-A4B5-5169D2BC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2401" y="3280820"/>
              <a:ext cx="2223042" cy="1517638"/>
            </a:xfrm>
            <a:custGeom>
              <a:avLst/>
              <a:gdLst>
                <a:gd name="T0" fmla="*/ 1381 w 1752"/>
                <a:gd name="T1" fmla="*/ 235 h 1196"/>
                <a:gd name="T2" fmla="*/ 1752 w 1752"/>
                <a:gd name="T3" fmla="*/ 862 h 1196"/>
                <a:gd name="T4" fmla="*/ 0 w 1752"/>
                <a:gd name="T5" fmla="*/ 594 h 1196"/>
                <a:gd name="T6" fmla="*/ 169 w 1752"/>
                <a:gd name="T7" fmla="*/ 0 h 1196"/>
                <a:gd name="T8" fmla="*/ 1381 w 1752"/>
                <a:gd name="T9" fmla="*/ 235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2" h="1196">
                  <a:moveTo>
                    <a:pt x="1381" y="235"/>
                  </a:moveTo>
                  <a:cubicBezTo>
                    <a:pt x="1752" y="862"/>
                    <a:pt x="1752" y="862"/>
                    <a:pt x="1752" y="862"/>
                  </a:cubicBezTo>
                  <a:cubicBezTo>
                    <a:pt x="1752" y="862"/>
                    <a:pt x="990" y="1196"/>
                    <a:pt x="0" y="594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730" y="446"/>
                    <a:pt x="1381" y="235"/>
                  </a:cubicBezTo>
                  <a:close/>
                </a:path>
              </a:pathLst>
            </a:custGeom>
            <a:solidFill>
              <a:srgbClr val="8EDC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04D19CC-FDD0-AEF6-73BD-A3B732AEA884}"/>
              </a:ext>
            </a:extLst>
          </p:cNvPr>
          <p:cNvGrpSpPr/>
          <p:nvPr/>
        </p:nvGrpSpPr>
        <p:grpSpPr>
          <a:xfrm>
            <a:off x="2476454" y="3901551"/>
            <a:ext cx="3808321" cy="2268135"/>
            <a:chOff x="906655" y="4108086"/>
            <a:chExt cx="3808321" cy="2268135"/>
          </a:xfrm>
        </p:grpSpPr>
        <p:sp>
          <p:nvSpPr>
            <p:cNvPr id="107" name="Freeform 14">
              <a:extLst>
                <a:ext uri="{FF2B5EF4-FFF2-40B4-BE49-F238E27FC236}">
                  <a16:creationId xmlns:a16="http://schemas.microsoft.com/office/drawing/2014/main" id="{10565ECE-5123-12AE-57F8-FA2853F62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655" y="4737795"/>
              <a:ext cx="3808321" cy="1638426"/>
            </a:xfrm>
            <a:custGeom>
              <a:avLst/>
              <a:gdLst>
                <a:gd name="T0" fmla="*/ 0 w 3001"/>
                <a:gd name="T1" fmla="*/ 272 h 1291"/>
                <a:gd name="T2" fmla="*/ 3001 w 3001"/>
                <a:gd name="T3" fmla="*/ 400 h 1291"/>
                <a:gd name="T4" fmla="*/ 709 w 3001"/>
                <a:gd name="T5" fmla="*/ 0 h 1291"/>
                <a:gd name="T6" fmla="*/ 0 w 3001"/>
                <a:gd name="T7" fmla="*/ 272 h 1291"/>
                <a:gd name="T8" fmla="*/ 0 w 3001"/>
                <a:gd name="T9" fmla="*/ 272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1" h="1291">
                  <a:moveTo>
                    <a:pt x="0" y="272"/>
                  </a:moveTo>
                  <a:cubicBezTo>
                    <a:pt x="0" y="272"/>
                    <a:pt x="1575" y="1291"/>
                    <a:pt x="3001" y="400"/>
                  </a:cubicBezTo>
                  <a:cubicBezTo>
                    <a:pt x="709" y="0"/>
                    <a:pt x="709" y="0"/>
                    <a:pt x="709" y="0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72"/>
                    <a:pt x="0" y="272"/>
                    <a:pt x="0" y="272"/>
                  </a:cubicBezTo>
                  <a:close/>
                </a:path>
              </a:pathLst>
            </a:custGeom>
            <a:solidFill>
              <a:srgbClr val="252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15">
              <a:extLst>
                <a:ext uri="{FF2B5EF4-FFF2-40B4-BE49-F238E27FC236}">
                  <a16:creationId xmlns:a16="http://schemas.microsoft.com/office/drawing/2014/main" id="{378137DE-FA0E-762A-1E58-75302439B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720" y="4108086"/>
              <a:ext cx="2940256" cy="1723246"/>
            </a:xfrm>
            <a:custGeom>
              <a:avLst/>
              <a:gdLst>
                <a:gd name="T0" fmla="*/ 1987 w 2317"/>
                <a:gd name="T1" fmla="*/ 293 h 1358"/>
                <a:gd name="T2" fmla="*/ 185 w 2317"/>
                <a:gd name="T3" fmla="*/ 0 h 1358"/>
                <a:gd name="T4" fmla="*/ 0 w 2317"/>
                <a:gd name="T5" fmla="*/ 289 h 1358"/>
                <a:gd name="T6" fmla="*/ 0 w 2317"/>
                <a:gd name="T7" fmla="*/ 578 h 1358"/>
                <a:gd name="T8" fmla="*/ 2317 w 2317"/>
                <a:gd name="T9" fmla="*/ 895 h 1358"/>
                <a:gd name="T10" fmla="*/ 1987 w 2317"/>
                <a:gd name="T11" fmla="*/ 293 h 1358"/>
                <a:gd name="T12" fmla="*/ 1987 w 2317"/>
                <a:gd name="T13" fmla="*/ 293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7" h="1358">
                  <a:moveTo>
                    <a:pt x="1987" y="293"/>
                  </a:moveTo>
                  <a:cubicBezTo>
                    <a:pt x="1987" y="293"/>
                    <a:pt x="1142" y="611"/>
                    <a:pt x="185" y="0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78"/>
                    <a:pt x="1286" y="1358"/>
                    <a:pt x="2317" y="895"/>
                  </a:cubicBezTo>
                  <a:cubicBezTo>
                    <a:pt x="1987" y="293"/>
                    <a:pt x="1987" y="293"/>
                    <a:pt x="1987" y="293"/>
                  </a:cubicBezTo>
                  <a:cubicBezTo>
                    <a:pt x="1987" y="293"/>
                    <a:pt x="1987" y="293"/>
                    <a:pt x="1987" y="293"/>
                  </a:cubicBezTo>
                  <a:close/>
                </a:path>
              </a:pathLst>
            </a:custGeom>
            <a:solidFill>
              <a:srgbClr val="55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16">
              <a:extLst>
                <a:ext uri="{FF2B5EF4-FFF2-40B4-BE49-F238E27FC236}">
                  <a16:creationId xmlns:a16="http://schemas.microsoft.com/office/drawing/2014/main" id="{74D7A42F-C0F0-631A-572B-0F69597EE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655" y="4108086"/>
              <a:ext cx="1103737" cy="974896"/>
            </a:xfrm>
            <a:custGeom>
              <a:avLst/>
              <a:gdLst>
                <a:gd name="T0" fmla="*/ 314 w 870"/>
                <a:gd name="T1" fmla="*/ 169 h 768"/>
                <a:gd name="T2" fmla="*/ 870 w 870"/>
                <a:gd name="T3" fmla="*/ 0 h 768"/>
                <a:gd name="T4" fmla="*/ 685 w 870"/>
                <a:gd name="T5" fmla="*/ 578 h 768"/>
                <a:gd name="T6" fmla="*/ 0 w 870"/>
                <a:gd name="T7" fmla="*/ 768 h 768"/>
                <a:gd name="T8" fmla="*/ 314 w 870"/>
                <a:gd name="T9" fmla="*/ 169 h 768"/>
                <a:gd name="T10" fmla="*/ 314 w 870"/>
                <a:gd name="T11" fmla="*/ 169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0" h="768">
                  <a:moveTo>
                    <a:pt x="314" y="169"/>
                  </a:moveTo>
                  <a:cubicBezTo>
                    <a:pt x="870" y="0"/>
                    <a:pt x="870" y="0"/>
                    <a:pt x="870" y="0"/>
                  </a:cubicBezTo>
                  <a:cubicBezTo>
                    <a:pt x="685" y="578"/>
                    <a:pt x="685" y="578"/>
                    <a:pt x="685" y="578"/>
                  </a:cubicBezTo>
                  <a:cubicBezTo>
                    <a:pt x="685" y="578"/>
                    <a:pt x="66" y="768"/>
                    <a:pt x="0" y="768"/>
                  </a:cubicBezTo>
                  <a:cubicBezTo>
                    <a:pt x="314" y="169"/>
                    <a:pt x="314" y="169"/>
                    <a:pt x="314" y="169"/>
                  </a:cubicBezTo>
                  <a:cubicBezTo>
                    <a:pt x="314" y="169"/>
                    <a:pt x="314" y="169"/>
                    <a:pt x="314" y="169"/>
                  </a:cubicBezTo>
                  <a:close/>
                </a:path>
              </a:pathLst>
            </a:custGeom>
            <a:solidFill>
              <a:srgbClr val="3B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20A5218E-4699-37DC-DDF4-7A0DC9634660}"/>
              </a:ext>
            </a:extLst>
          </p:cNvPr>
          <p:cNvGrpSpPr>
            <a:grpSpLocks noChangeAspect="1"/>
          </p:cNvGrpSpPr>
          <p:nvPr/>
        </p:nvGrpSpPr>
        <p:grpSpPr>
          <a:xfrm>
            <a:off x="4201579" y="1864128"/>
            <a:ext cx="302079" cy="288000"/>
            <a:chOff x="6472238" y="-822326"/>
            <a:chExt cx="374650" cy="357188"/>
          </a:xfrm>
          <a:solidFill>
            <a:schemeClr val="bg1"/>
          </a:solidFill>
        </p:grpSpPr>
        <p:sp>
          <p:nvSpPr>
            <p:cNvPr id="111" name="Freeform 26">
              <a:extLst>
                <a:ext uri="{FF2B5EF4-FFF2-40B4-BE49-F238E27FC236}">
                  <a16:creationId xmlns:a16="http://schemas.microsoft.com/office/drawing/2014/main" id="{D05AF23B-39E7-9403-9500-0F6CD5892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7163" y="-774701"/>
              <a:ext cx="309562" cy="309563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40 w 80"/>
                <a:gd name="T9" fmla="*/ 80 h 80"/>
                <a:gd name="T10" fmla="*/ 40 w 80"/>
                <a:gd name="T11" fmla="*/ 4 h 80"/>
                <a:gd name="T12" fmla="*/ 4 w 80"/>
                <a:gd name="T13" fmla="*/ 40 h 80"/>
                <a:gd name="T14" fmla="*/ 40 w 80"/>
                <a:gd name="T15" fmla="*/ 76 h 80"/>
                <a:gd name="T16" fmla="*/ 76 w 80"/>
                <a:gd name="T17" fmla="*/ 40 h 80"/>
                <a:gd name="T18" fmla="*/ 40 w 80"/>
                <a:gd name="T19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62"/>
                    <a:pt x="62" y="80"/>
                    <a:pt x="40" y="80"/>
                  </a:cubicBezTo>
                  <a:close/>
                  <a:moveTo>
                    <a:pt x="40" y="4"/>
                  </a:moveTo>
                  <a:cubicBezTo>
                    <a:pt x="20" y="4"/>
                    <a:pt x="4" y="20"/>
                    <a:pt x="4" y="40"/>
                  </a:cubicBezTo>
                  <a:cubicBezTo>
                    <a:pt x="4" y="60"/>
                    <a:pt x="20" y="76"/>
                    <a:pt x="40" y="76"/>
                  </a:cubicBezTo>
                  <a:cubicBezTo>
                    <a:pt x="60" y="76"/>
                    <a:pt x="76" y="60"/>
                    <a:pt x="76" y="40"/>
                  </a:cubicBezTo>
                  <a:cubicBezTo>
                    <a:pt x="76" y="20"/>
                    <a:pt x="60" y="4"/>
                    <a:pt x="4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27">
              <a:extLst>
                <a:ext uri="{FF2B5EF4-FFF2-40B4-BE49-F238E27FC236}">
                  <a16:creationId xmlns:a16="http://schemas.microsoft.com/office/drawing/2014/main" id="{26FCB47E-96B0-A4A1-227A-3FBDB4A6F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63" y="-508001"/>
              <a:ext cx="42862" cy="42863"/>
            </a:xfrm>
            <a:custGeom>
              <a:avLst/>
              <a:gdLst>
                <a:gd name="T0" fmla="*/ 2 w 11"/>
                <a:gd name="T1" fmla="*/ 11 h 11"/>
                <a:gd name="T2" fmla="*/ 0 w 11"/>
                <a:gd name="T3" fmla="*/ 10 h 11"/>
                <a:gd name="T4" fmla="*/ 0 w 11"/>
                <a:gd name="T5" fmla="*/ 8 h 11"/>
                <a:gd name="T6" fmla="*/ 7 w 11"/>
                <a:gd name="T7" fmla="*/ 1 h 11"/>
                <a:gd name="T8" fmla="*/ 10 w 11"/>
                <a:gd name="T9" fmla="*/ 1 h 11"/>
                <a:gd name="T10" fmla="*/ 10 w 11"/>
                <a:gd name="T11" fmla="*/ 4 h 11"/>
                <a:gd name="T12" fmla="*/ 3 w 11"/>
                <a:gd name="T13" fmla="*/ 10 h 11"/>
                <a:gd name="T14" fmla="*/ 2 w 1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2" y="11"/>
                  </a:moveTo>
                  <a:cubicBezTo>
                    <a:pt x="1" y="11"/>
                    <a:pt x="1" y="11"/>
                    <a:pt x="0" y="10"/>
                  </a:cubicBezTo>
                  <a:cubicBezTo>
                    <a:pt x="0" y="10"/>
                    <a:pt x="0" y="8"/>
                    <a:pt x="0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1" y="2"/>
                    <a:pt x="11" y="3"/>
                    <a:pt x="10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28">
              <a:extLst>
                <a:ext uri="{FF2B5EF4-FFF2-40B4-BE49-F238E27FC236}">
                  <a16:creationId xmlns:a16="http://schemas.microsoft.com/office/drawing/2014/main" id="{31DC3AC0-A5B1-A1A0-C2FC-566BD46E2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5763" y="-508001"/>
              <a:ext cx="41275" cy="42863"/>
            </a:xfrm>
            <a:custGeom>
              <a:avLst/>
              <a:gdLst>
                <a:gd name="T0" fmla="*/ 9 w 11"/>
                <a:gd name="T1" fmla="*/ 11 h 11"/>
                <a:gd name="T2" fmla="*/ 7 w 11"/>
                <a:gd name="T3" fmla="*/ 10 h 11"/>
                <a:gd name="T4" fmla="*/ 1 w 11"/>
                <a:gd name="T5" fmla="*/ 4 h 11"/>
                <a:gd name="T6" fmla="*/ 1 w 11"/>
                <a:gd name="T7" fmla="*/ 1 h 11"/>
                <a:gd name="T8" fmla="*/ 4 w 11"/>
                <a:gd name="T9" fmla="*/ 1 h 11"/>
                <a:gd name="T10" fmla="*/ 10 w 11"/>
                <a:gd name="T11" fmla="*/ 8 h 11"/>
                <a:gd name="T12" fmla="*/ 10 w 11"/>
                <a:gd name="T13" fmla="*/ 10 h 11"/>
                <a:gd name="T14" fmla="*/ 9 w 1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cubicBezTo>
                    <a:pt x="8" y="11"/>
                    <a:pt x="8" y="11"/>
                    <a:pt x="7" y="1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10"/>
                    <a:pt x="10" y="10"/>
                  </a:cubicBezTo>
                  <a:cubicBezTo>
                    <a:pt x="10" y="11"/>
                    <a:pt x="9" y="11"/>
                    <a:pt x="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29">
              <a:extLst>
                <a:ext uri="{FF2B5EF4-FFF2-40B4-BE49-F238E27FC236}">
                  <a16:creationId xmlns:a16="http://schemas.microsoft.com/office/drawing/2014/main" id="{5559E2D8-0F50-2155-B469-D41B13EA9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238" y="-712788"/>
              <a:ext cx="77787" cy="107950"/>
            </a:xfrm>
            <a:custGeom>
              <a:avLst/>
              <a:gdLst>
                <a:gd name="T0" fmla="*/ 18 w 20"/>
                <a:gd name="T1" fmla="*/ 28 h 28"/>
                <a:gd name="T2" fmla="*/ 2 w 20"/>
                <a:gd name="T3" fmla="*/ 28 h 28"/>
                <a:gd name="T4" fmla="*/ 0 w 20"/>
                <a:gd name="T5" fmla="*/ 26 h 28"/>
                <a:gd name="T6" fmla="*/ 2 w 20"/>
                <a:gd name="T7" fmla="*/ 24 h 28"/>
                <a:gd name="T8" fmla="*/ 16 w 20"/>
                <a:gd name="T9" fmla="*/ 24 h 28"/>
                <a:gd name="T10" fmla="*/ 16 w 20"/>
                <a:gd name="T11" fmla="*/ 2 h 28"/>
                <a:gd name="T12" fmla="*/ 18 w 20"/>
                <a:gd name="T13" fmla="*/ 0 h 28"/>
                <a:gd name="T14" fmla="*/ 20 w 20"/>
                <a:gd name="T15" fmla="*/ 2 h 28"/>
                <a:gd name="T16" fmla="*/ 20 w 20"/>
                <a:gd name="T17" fmla="*/ 26 h 28"/>
                <a:gd name="T18" fmla="*/ 18 w 2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8">
                  <a:moveTo>
                    <a:pt x="18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5"/>
                    <a:pt x="1" y="24"/>
                    <a:pt x="2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30">
              <a:extLst>
                <a:ext uri="{FF2B5EF4-FFF2-40B4-BE49-F238E27FC236}">
                  <a16:creationId xmlns:a16="http://schemas.microsoft.com/office/drawing/2014/main" id="{85F4978A-6A8A-D2E8-2FB2-02049F6ED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2238" y="-822326"/>
              <a:ext cx="127000" cy="123825"/>
            </a:xfrm>
            <a:custGeom>
              <a:avLst/>
              <a:gdLst>
                <a:gd name="T0" fmla="*/ 9 w 33"/>
                <a:gd name="T1" fmla="*/ 32 h 32"/>
                <a:gd name="T2" fmla="*/ 7 w 33"/>
                <a:gd name="T3" fmla="*/ 31 h 32"/>
                <a:gd name="T4" fmla="*/ 7 w 33"/>
                <a:gd name="T5" fmla="*/ 7 h 32"/>
                <a:gd name="T6" fmla="*/ 32 w 33"/>
                <a:gd name="T7" fmla="*/ 7 h 32"/>
                <a:gd name="T8" fmla="*/ 32 w 33"/>
                <a:gd name="T9" fmla="*/ 9 h 32"/>
                <a:gd name="T10" fmla="*/ 29 w 33"/>
                <a:gd name="T11" fmla="*/ 9 h 32"/>
                <a:gd name="T12" fmla="*/ 10 w 33"/>
                <a:gd name="T13" fmla="*/ 9 h 32"/>
                <a:gd name="T14" fmla="*/ 10 w 33"/>
                <a:gd name="T15" fmla="*/ 29 h 32"/>
                <a:gd name="T16" fmla="*/ 10 w 33"/>
                <a:gd name="T17" fmla="*/ 31 h 32"/>
                <a:gd name="T18" fmla="*/ 9 w 33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2">
                  <a:moveTo>
                    <a:pt x="9" y="32"/>
                  </a:moveTo>
                  <a:cubicBezTo>
                    <a:pt x="8" y="32"/>
                    <a:pt x="8" y="32"/>
                    <a:pt x="7" y="31"/>
                  </a:cubicBezTo>
                  <a:cubicBezTo>
                    <a:pt x="0" y="24"/>
                    <a:pt x="0" y="14"/>
                    <a:pt x="7" y="7"/>
                  </a:cubicBezTo>
                  <a:cubicBezTo>
                    <a:pt x="14" y="0"/>
                    <a:pt x="25" y="0"/>
                    <a:pt x="32" y="7"/>
                  </a:cubicBezTo>
                  <a:cubicBezTo>
                    <a:pt x="33" y="7"/>
                    <a:pt x="33" y="9"/>
                    <a:pt x="32" y="9"/>
                  </a:cubicBezTo>
                  <a:cubicBezTo>
                    <a:pt x="31" y="10"/>
                    <a:pt x="30" y="10"/>
                    <a:pt x="29" y="9"/>
                  </a:cubicBezTo>
                  <a:cubicBezTo>
                    <a:pt x="24" y="4"/>
                    <a:pt x="15" y="4"/>
                    <a:pt x="10" y="9"/>
                  </a:cubicBezTo>
                  <a:cubicBezTo>
                    <a:pt x="5" y="15"/>
                    <a:pt x="5" y="23"/>
                    <a:pt x="10" y="29"/>
                  </a:cubicBezTo>
                  <a:cubicBezTo>
                    <a:pt x="11" y="29"/>
                    <a:pt x="11" y="31"/>
                    <a:pt x="10" y="31"/>
                  </a:cubicBezTo>
                  <a:cubicBezTo>
                    <a:pt x="10" y="32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31">
              <a:extLst>
                <a:ext uri="{FF2B5EF4-FFF2-40B4-BE49-F238E27FC236}">
                  <a16:creationId xmlns:a16="http://schemas.microsoft.com/office/drawing/2014/main" id="{CD4136CC-7065-A758-550E-2873FA940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063" y="-822326"/>
              <a:ext cx="123825" cy="123825"/>
            </a:xfrm>
            <a:custGeom>
              <a:avLst/>
              <a:gdLst>
                <a:gd name="T0" fmla="*/ 24 w 32"/>
                <a:gd name="T1" fmla="*/ 32 h 32"/>
                <a:gd name="T2" fmla="*/ 22 w 32"/>
                <a:gd name="T3" fmla="*/ 31 h 32"/>
                <a:gd name="T4" fmla="*/ 22 w 32"/>
                <a:gd name="T5" fmla="*/ 29 h 32"/>
                <a:gd name="T6" fmla="*/ 22 w 32"/>
                <a:gd name="T7" fmla="*/ 9 h 32"/>
                <a:gd name="T8" fmla="*/ 3 w 32"/>
                <a:gd name="T9" fmla="*/ 9 h 32"/>
                <a:gd name="T10" fmla="*/ 0 w 32"/>
                <a:gd name="T11" fmla="*/ 9 h 32"/>
                <a:gd name="T12" fmla="*/ 0 w 32"/>
                <a:gd name="T13" fmla="*/ 7 h 32"/>
                <a:gd name="T14" fmla="*/ 25 w 32"/>
                <a:gd name="T15" fmla="*/ 7 h 32"/>
                <a:gd name="T16" fmla="*/ 25 w 32"/>
                <a:gd name="T17" fmla="*/ 31 h 32"/>
                <a:gd name="T18" fmla="*/ 24 w 3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24" y="32"/>
                  </a:moveTo>
                  <a:cubicBezTo>
                    <a:pt x="23" y="32"/>
                    <a:pt x="23" y="32"/>
                    <a:pt x="22" y="31"/>
                  </a:cubicBezTo>
                  <a:cubicBezTo>
                    <a:pt x="22" y="31"/>
                    <a:pt x="22" y="29"/>
                    <a:pt x="22" y="29"/>
                  </a:cubicBezTo>
                  <a:cubicBezTo>
                    <a:pt x="28" y="23"/>
                    <a:pt x="28" y="15"/>
                    <a:pt x="22" y="9"/>
                  </a:cubicBezTo>
                  <a:cubicBezTo>
                    <a:pt x="17" y="4"/>
                    <a:pt x="8" y="4"/>
                    <a:pt x="3" y="9"/>
                  </a:cubicBezTo>
                  <a:cubicBezTo>
                    <a:pt x="2" y="10"/>
                    <a:pt x="1" y="10"/>
                    <a:pt x="0" y="9"/>
                  </a:cubicBezTo>
                  <a:cubicBezTo>
                    <a:pt x="0" y="9"/>
                    <a:pt x="0" y="7"/>
                    <a:pt x="0" y="7"/>
                  </a:cubicBezTo>
                  <a:cubicBezTo>
                    <a:pt x="7" y="0"/>
                    <a:pt x="18" y="0"/>
                    <a:pt x="25" y="7"/>
                  </a:cubicBezTo>
                  <a:cubicBezTo>
                    <a:pt x="32" y="14"/>
                    <a:pt x="32" y="24"/>
                    <a:pt x="25" y="31"/>
                  </a:cubicBezTo>
                  <a:cubicBezTo>
                    <a:pt x="25" y="32"/>
                    <a:pt x="24" y="32"/>
                    <a:pt x="2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21029369-ED83-2502-A8EB-B4E3685C1BE5}"/>
              </a:ext>
            </a:extLst>
          </p:cNvPr>
          <p:cNvGrpSpPr>
            <a:grpSpLocks noChangeAspect="1"/>
          </p:cNvGrpSpPr>
          <p:nvPr/>
        </p:nvGrpSpPr>
        <p:grpSpPr>
          <a:xfrm>
            <a:off x="4271073" y="2701075"/>
            <a:ext cx="342366" cy="288000"/>
            <a:chOff x="9577388" y="1355725"/>
            <a:chExt cx="369887" cy="311151"/>
          </a:xfrm>
          <a:solidFill>
            <a:srgbClr val="3B3939"/>
          </a:solidFill>
        </p:grpSpPr>
        <p:sp>
          <p:nvSpPr>
            <p:cNvPr id="118" name="Freeform 35">
              <a:extLst>
                <a:ext uri="{FF2B5EF4-FFF2-40B4-BE49-F238E27FC236}">
                  <a16:creationId xmlns:a16="http://schemas.microsoft.com/office/drawing/2014/main" id="{4FCEA711-5058-A37D-87F3-F24A08561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5338" y="1417638"/>
              <a:ext cx="77787" cy="249238"/>
            </a:xfrm>
            <a:custGeom>
              <a:avLst/>
              <a:gdLst>
                <a:gd name="T0" fmla="*/ 18 w 20"/>
                <a:gd name="T1" fmla="*/ 64 h 64"/>
                <a:gd name="T2" fmla="*/ 17 w 20"/>
                <a:gd name="T3" fmla="*/ 64 h 64"/>
                <a:gd name="T4" fmla="*/ 0 w 20"/>
                <a:gd name="T5" fmla="*/ 36 h 64"/>
                <a:gd name="T6" fmla="*/ 0 w 20"/>
                <a:gd name="T7" fmla="*/ 2 h 64"/>
                <a:gd name="T8" fmla="*/ 2 w 20"/>
                <a:gd name="T9" fmla="*/ 0 h 64"/>
                <a:gd name="T10" fmla="*/ 4 w 20"/>
                <a:gd name="T11" fmla="*/ 2 h 64"/>
                <a:gd name="T12" fmla="*/ 4 w 20"/>
                <a:gd name="T13" fmla="*/ 36 h 64"/>
                <a:gd name="T14" fmla="*/ 19 w 20"/>
                <a:gd name="T15" fmla="*/ 60 h 64"/>
                <a:gd name="T16" fmla="*/ 20 w 20"/>
                <a:gd name="T17" fmla="*/ 63 h 64"/>
                <a:gd name="T18" fmla="*/ 18 w 20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4">
                  <a:moveTo>
                    <a:pt x="18" y="64"/>
                  </a:moveTo>
                  <a:cubicBezTo>
                    <a:pt x="18" y="64"/>
                    <a:pt x="17" y="64"/>
                    <a:pt x="17" y="64"/>
                  </a:cubicBezTo>
                  <a:cubicBezTo>
                    <a:pt x="7" y="59"/>
                    <a:pt x="0" y="48"/>
                    <a:pt x="0" y="3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46"/>
                    <a:pt x="10" y="56"/>
                    <a:pt x="19" y="60"/>
                  </a:cubicBezTo>
                  <a:cubicBezTo>
                    <a:pt x="20" y="61"/>
                    <a:pt x="20" y="62"/>
                    <a:pt x="20" y="63"/>
                  </a:cubicBezTo>
                  <a:cubicBezTo>
                    <a:pt x="19" y="64"/>
                    <a:pt x="19" y="64"/>
                    <a:pt x="1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36">
              <a:extLst>
                <a:ext uri="{FF2B5EF4-FFF2-40B4-BE49-F238E27FC236}">
                  <a16:creationId xmlns:a16="http://schemas.microsoft.com/office/drawing/2014/main" id="{AB6F8459-04F0-D05E-6C48-019D7A0B7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01238" y="1447800"/>
              <a:ext cx="46037" cy="77788"/>
            </a:xfrm>
            <a:custGeom>
              <a:avLst/>
              <a:gdLst>
                <a:gd name="T0" fmla="*/ 4 w 12"/>
                <a:gd name="T1" fmla="*/ 20 h 20"/>
                <a:gd name="T2" fmla="*/ 2 w 12"/>
                <a:gd name="T3" fmla="*/ 20 h 20"/>
                <a:gd name="T4" fmla="*/ 0 w 12"/>
                <a:gd name="T5" fmla="*/ 18 h 20"/>
                <a:gd name="T6" fmla="*/ 0 w 12"/>
                <a:gd name="T7" fmla="*/ 2 h 20"/>
                <a:gd name="T8" fmla="*/ 2 w 12"/>
                <a:gd name="T9" fmla="*/ 0 h 20"/>
                <a:gd name="T10" fmla="*/ 4 w 12"/>
                <a:gd name="T11" fmla="*/ 0 h 20"/>
                <a:gd name="T12" fmla="*/ 12 w 12"/>
                <a:gd name="T13" fmla="*/ 8 h 20"/>
                <a:gd name="T14" fmla="*/ 12 w 12"/>
                <a:gd name="T15" fmla="*/ 12 h 20"/>
                <a:gd name="T16" fmla="*/ 4 w 12"/>
                <a:gd name="T17" fmla="*/ 20 h 20"/>
                <a:gd name="T18" fmla="*/ 4 w 12"/>
                <a:gd name="T19" fmla="*/ 4 h 20"/>
                <a:gd name="T20" fmla="*/ 4 w 12"/>
                <a:gd name="T21" fmla="*/ 16 h 20"/>
                <a:gd name="T22" fmla="*/ 8 w 12"/>
                <a:gd name="T23" fmla="*/ 12 h 20"/>
                <a:gd name="T24" fmla="*/ 8 w 12"/>
                <a:gd name="T25" fmla="*/ 8 h 20"/>
                <a:gd name="T26" fmla="*/ 4 w 12"/>
                <a:gd name="T2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0">
                  <a:moveTo>
                    <a:pt x="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12" y="4"/>
                    <a:pt x="12" y="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6"/>
                    <a:pt x="8" y="20"/>
                    <a:pt x="4" y="20"/>
                  </a:cubicBezTo>
                  <a:close/>
                  <a:moveTo>
                    <a:pt x="4" y="4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6" y="16"/>
                    <a:pt x="8" y="14"/>
                    <a:pt x="8" y="1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6"/>
                    <a:pt x="6" y="4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37">
              <a:extLst>
                <a:ext uri="{FF2B5EF4-FFF2-40B4-BE49-F238E27FC236}">
                  <a16:creationId xmlns:a16="http://schemas.microsoft.com/office/drawing/2014/main" id="{06D5FC0C-D41C-E287-3216-A79C25291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7388" y="1355725"/>
              <a:ext cx="339725" cy="263525"/>
            </a:xfrm>
            <a:custGeom>
              <a:avLst/>
              <a:gdLst>
                <a:gd name="T0" fmla="*/ 86 w 88"/>
                <a:gd name="T1" fmla="*/ 68 h 68"/>
                <a:gd name="T2" fmla="*/ 85 w 88"/>
                <a:gd name="T3" fmla="*/ 68 h 68"/>
                <a:gd name="T4" fmla="*/ 81 w 88"/>
                <a:gd name="T5" fmla="*/ 66 h 68"/>
                <a:gd name="T6" fmla="*/ 18 w 88"/>
                <a:gd name="T7" fmla="*/ 52 h 68"/>
                <a:gd name="T8" fmla="*/ 14 w 88"/>
                <a:gd name="T9" fmla="*/ 52 h 68"/>
                <a:gd name="T10" fmla="*/ 0 w 88"/>
                <a:gd name="T11" fmla="*/ 38 h 68"/>
                <a:gd name="T12" fmla="*/ 0 w 88"/>
                <a:gd name="T13" fmla="*/ 30 h 68"/>
                <a:gd name="T14" fmla="*/ 14 w 88"/>
                <a:gd name="T15" fmla="*/ 16 h 68"/>
                <a:gd name="T16" fmla="*/ 18 w 88"/>
                <a:gd name="T17" fmla="*/ 16 h 68"/>
                <a:gd name="T18" fmla="*/ 81 w 88"/>
                <a:gd name="T19" fmla="*/ 2 h 68"/>
                <a:gd name="T20" fmla="*/ 85 w 88"/>
                <a:gd name="T21" fmla="*/ 0 h 68"/>
                <a:gd name="T22" fmla="*/ 87 w 88"/>
                <a:gd name="T23" fmla="*/ 0 h 68"/>
                <a:gd name="T24" fmla="*/ 88 w 88"/>
                <a:gd name="T25" fmla="*/ 2 h 68"/>
                <a:gd name="T26" fmla="*/ 88 w 88"/>
                <a:gd name="T27" fmla="*/ 66 h 68"/>
                <a:gd name="T28" fmla="*/ 87 w 88"/>
                <a:gd name="T29" fmla="*/ 68 h 68"/>
                <a:gd name="T30" fmla="*/ 86 w 88"/>
                <a:gd name="T31" fmla="*/ 68 h 68"/>
                <a:gd name="T32" fmla="*/ 14 w 88"/>
                <a:gd name="T33" fmla="*/ 20 h 68"/>
                <a:gd name="T34" fmla="*/ 4 w 88"/>
                <a:gd name="T35" fmla="*/ 30 h 68"/>
                <a:gd name="T36" fmla="*/ 4 w 88"/>
                <a:gd name="T37" fmla="*/ 38 h 68"/>
                <a:gd name="T38" fmla="*/ 14 w 88"/>
                <a:gd name="T39" fmla="*/ 48 h 68"/>
                <a:gd name="T40" fmla="*/ 18 w 88"/>
                <a:gd name="T41" fmla="*/ 48 h 68"/>
                <a:gd name="T42" fmla="*/ 83 w 88"/>
                <a:gd name="T43" fmla="*/ 62 h 68"/>
                <a:gd name="T44" fmla="*/ 84 w 88"/>
                <a:gd name="T45" fmla="*/ 63 h 68"/>
                <a:gd name="T46" fmla="*/ 84 w 88"/>
                <a:gd name="T47" fmla="*/ 5 h 68"/>
                <a:gd name="T48" fmla="*/ 83 w 88"/>
                <a:gd name="T49" fmla="*/ 6 h 68"/>
                <a:gd name="T50" fmla="*/ 18 w 88"/>
                <a:gd name="T51" fmla="*/ 20 h 68"/>
                <a:gd name="T52" fmla="*/ 14 w 88"/>
                <a:gd name="T53" fmla="*/ 2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" h="68">
                  <a:moveTo>
                    <a:pt x="86" y="68"/>
                  </a:moveTo>
                  <a:cubicBezTo>
                    <a:pt x="86" y="68"/>
                    <a:pt x="85" y="68"/>
                    <a:pt x="85" y="68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66" y="59"/>
                    <a:pt x="51" y="52"/>
                    <a:pt x="18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6" y="52"/>
                    <a:pt x="0" y="46"/>
                    <a:pt x="0" y="3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2"/>
                    <a:pt x="6" y="16"/>
                    <a:pt x="14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51" y="16"/>
                    <a:pt x="66" y="9"/>
                    <a:pt x="81" y="2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0"/>
                    <a:pt x="87" y="0"/>
                  </a:cubicBezTo>
                  <a:cubicBezTo>
                    <a:pt x="88" y="1"/>
                    <a:pt x="88" y="1"/>
                    <a:pt x="88" y="2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8" y="67"/>
                    <a:pt x="88" y="67"/>
                    <a:pt x="87" y="68"/>
                  </a:cubicBezTo>
                  <a:cubicBezTo>
                    <a:pt x="87" y="68"/>
                    <a:pt x="86" y="68"/>
                    <a:pt x="86" y="68"/>
                  </a:cubicBezTo>
                  <a:close/>
                  <a:moveTo>
                    <a:pt x="14" y="20"/>
                  </a:moveTo>
                  <a:cubicBezTo>
                    <a:pt x="8" y="20"/>
                    <a:pt x="4" y="24"/>
                    <a:pt x="4" y="30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44"/>
                    <a:pt x="8" y="48"/>
                    <a:pt x="14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52" y="48"/>
                    <a:pt x="67" y="55"/>
                    <a:pt x="83" y="62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67" y="13"/>
                    <a:pt x="52" y="20"/>
                    <a:pt x="18" y="20"/>
                  </a:cubicBez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BD3B111-E9C5-5433-F094-21C16F8C12B3}"/>
              </a:ext>
            </a:extLst>
          </p:cNvPr>
          <p:cNvGrpSpPr>
            <a:grpSpLocks noChangeAspect="1"/>
          </p:cNvGrpSpPr>
          <p:nvPr/>
        </p:nvGrpSpPr>
        <p:grpSpPr>
          <a:xfrm>
            <a:off x="4425721" y="3664345"/>
            <a:ext cx="288000" cy="288000"/>
            <a:chOff x="9459913" y="2638425"/>
            <a:chExt cx="371475" cy="371475"/>
          </a:xfrm>
          <a:solidFill>
            <a:schemeClr val="bg1"/>
          </a:solidFill>
        </p:grpSpPr>
        <p:sp>
          <p:nvSpPr>
            <p:cNvPr id="122" name="Freeform 41">
              <a:extLst>
                <a:ext uri="{FF2B5EF4-FFF2-40B4-BE49-F238E27FC236}">
                  <a16:creationId xmlns:a16="http://schemas.microsoft.com/office/drawing/2014/main" id="{43BCF90C-A94F-DD4F-E37C-D24950D592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9913" y="2638425"/>
              <a:ext cx="371475" cy="371475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4 h 96"/>
                <a:gd name="T12" fmla="*/ 4 w 96"/>
                <a:gd name="T13" fmla="*/ 48 h 96"/>
                <a:gd name="T14" fmla="*/ 48 w 96"/>
                <a:gd name="T15" fmla="*/ 92 h 96"/>
                <a:gd name="T16" fmla="*/ 92 w 96"/>
                <a:gd name="T17" fmla="*/ 48 h 96"/>
                <a:gd name="T18" fmla="*/ 48 w 96"/>
                <a:gd name="T19" fmla="*/ 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4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  <a:moveTo>
                    <a:pt x="48" y="4"/>
                  </a:moveTo>
                  <a:cubicBezTo>
                    <a:pt x="24" y="4"/>
                    <a:pt x="4" y="24"/>
                    <a:pt x="4" y="48"/>
                  </a:cubicBezTo>
                  <a:cubicBezTo>
                    <a:pt x="4" y="72"/>
                    <a:pt x="24" y="92"/>
                    <a:pt x="48" y="92"/>
                  </a:cubicBezTo>
                  <a:cubicBezTo>
                    <a:pt x="72" y="92"/>
                    <a:pt x="92" y="72"/>
                    <a:pt x="92" y="48"/>
                  </a:cubicBezTo>
                  <a:cubicBezTo>
                    <a:pt x="92" y="24"/>
                    <a:pt x="72" y="4"/>
                    <a:pt x="4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42">
              <a:extLst>
                <a:ext uri="{FF2B5EF4-FFF2-40B4-BE49-F238E27FC236}">
                  <a16:creationId xmlns:a16="http://schemas.microsoft.com/office/drawing/2014/main" id="{12E8C276-05F2-E149-C61A-8F56F60B0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1826" y="2646363"/>
              <a:ext cx="263525" cy="309563"/>
            </a:xfrm>
            <a:custGeom>
              <a:avLst/>
              <a:gdLst>
                <a:gd name="T0" fmla="*/ 20 w 68"/>
                <a:gd name="T1" fmla="*/ 68 h 80"/>
                <a:gd name="T2" fmla="*/ 22 w 68"/>
                <a:gd name="T3" fmla="*/ 62 h 80"/>
                <a:gd name="T4" fmla="*/ 18 w 68"/>
                <a:gd name="T5" fmla="*/ 56 h 80"/>
                <a:gd name="T6" fmla="*/ 11 w 68"/>
                <a:gd name="T7" fmla="*/ 52 h 80"/>
                <a:gd name="T8" fmla="*/ 0 w 68"/>
                <a:gd name="T9" fmla="*/ 42 h 80"/>
                <a:gd name="T10" fmla="*/ 22 w 68"/>
                <a:gd name="T11" fmla="*/ 25 h 80"/>
                <a:gd name="T12" fmla="*/ 33 w 68"/>
                <a:gd name="T13" fmla="*/ 27 h 80"/>
                <a:gd name="T14" fmla="*/ 36 w 68"/>
                <a:gd name="T15" fmla="*/ 18 h 80"/>
                <a:gd name="T16" fmla="*/ 26 w 68"/>
                <a:gd name="T17" fmla="*/ 12 h 80"/>
                <a:gd name="T18" fmla="*/ 47 w 68"/>
                <a:gd name="T19" fmla="*/ 2 h 80"/>
                <a:gd name="T20" fmla="*/ 30 w 68"/>
                <a:gd name="T21" fmla="*/ 12 h 80"/>
                <a:gd name="T22" fmla="*/ 35 w 68"/>
                <a:gd name="T23" fmla="*/ 14 h 80"/>
                <a:gd name="T24" fmla="*/ 40 w 68"/>
                <a:gd name="T25" fmla="*/ 28 h 80"/>
                <a:gd name="T26" fmla="*/ 34 w 68"/>
                <a:gd name="T27" fmla="*/ 31 h 80"/>
                <a:gd name="T28" fmla="*/ 20 w 68"/>
                <a:gd name="T29" fmla="*/ 28 h 80"/>
                <a:gd name="T30" fmla="*/ 4 w 68"/>
                <a:gd name="T31" fmla="*/ 42 h 80"/>
                <a:gd name="T32" fmla="*/ 11 w 68"/>
                <a:gd name="T33" fmla="*/ 48 h 80"/>
                <a:gd name="T34" fmla="*/ 22 w 68"/>
                <a:gd name="T35" fmla="*/ 55 h 80"/>
                <a:gd name="T36" fmla="*/ 25 w 68"/>
                <a:gd name="T37" fmla="*/ 66 h 80"/>
                <a:gd name="T38" fmla="*/ 28 w 68"/>
                <a:gd name="T39" fmla="*/ 76 h 80"/>
                <a:gd name="T40" fmla="*/ 39 w 68"/>
                <a:gd name="T41" fmla="*/ 66 h 80"/>
                <a:gd name="T42" fmla="*/ 45 w 68"/>
                <a:gd name="T43" fmla="*/ 62 h 80"/>
                <a:gd name="T44" fmla="*/ 42 w 68"/>
                <a:gd name="T45" fmla="*/ 58 h 80"/>
                <a:gd name="T46" fmla="*/ 51 w 68"/>
                <a:gd name="T47" fmla="*/ 44 h 80"/>
                <a:gd name="T48" fmla="*/ 44 w 68"/>
                <a:gd name="T49" fmla="*/ 42 h 80"/>
                <a:gd name="T50" fmla="*/ 40 w 68"/>
                <a:gd name="T51" fmla="*/ 35 h 80"/>
                <a:gd name="T52" fmla="*/ 56 w 68"/>
                <a:gd name="T53" fmla="*/ 28 h 80"/>
                <a:gd name="T54" fmla="*/ 66 w 68"/>
                <a:gd name="T55" fmla="*/ 13 h 80"/>
                <a:gd name="T56" fmla="*/ 57 w 68"/>
                <a:gd name="T57" fmla="*/ 32 h 80"/>
                <a:gd name="T58" fmla="*/ 45 w 68"/>
                <a:gd name="T59" fmla="*/ 34 h 80"/>
                <a:gd name="T60" fmla="*/ 51 w 68"/>
                <a:gd name="T61" fmla="*/ 40 h 80"/>
                <a:gd name="T62" fmla="*/ 48 w 68"/>
                <a:gd name="T63" fmla="*/ 56 h 80"/>
                <a:gd name="T64" fmla="*/ 47 w 68"/>
                <a:gd name="T65" fmla="*/ 58 h 80"/>
                <a:gd name="T66" fmla="*/ 47 w 68"/>
                <a:gd name="T67" fmla="*/ 65 h 80"/>
                <a:gd name="T68" fmla="*/ 28 w 68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8" h="80">
                  <a:moveTo>
                    <a:pt x="28" y="80"/>
                  </a:moveTo>
                  <a:cubicBezTo>
                    <a:pt x="24" y="80"/>
                    <a:pt x="20" y="70"/>
                    <a:pt x="20" y="68"/>
                  </a:cubicBezTo>
                  <a:cubicBezTo>
                    <a:pt x="20" y="67"/>
                    <a:pt x="21" y="65"/>
                    <a:pt x="21" y="64"/>
                  </a:cubicBezTo>
                  <a:cubicBezTo>
                    <a:pt x="22" y="63"/>
                    <a:pt x="22" y="63"/>
                    <a:pt x="22" y="62"/>
                  </a:cubicBezTo>
                  <a:cubicBezTo>
                    <a:pt x="22" y="61"/>
                    <a:pt x="20" y="59"/>
                    <a:pt x="19" y="57"/>
                  </a:cubicBezTo>
                  <a:cubicBezTo>
                    <a:pt x="18" y="57"/>
                    <a:pt x="18" y="57"/>
                    <a:pt x="18" y="56"/>
                  </a:cubicBezTo>
                  <a:cubicBezTo>
                    <a:pt x="18" y="54"/>
                    <a:pt x="18" y="53"/>
                    <a:pt x="17" y="53"/>
                  </a:cubicBezTo>
                  <a:cubicBezTo>
                    <a:pt x="16" y="52"/>
                    <a:pt x="14" y="52"/>
                    <a:pt x="11" y="52"/>
                  </a:cubicBezTo>
                  <a:cubicBezTo>
                    <a:pt x="10" y="52"/>
                    <a:pt x="9" y="52"/>
                    <a:pt x="8" y="52"/>
                  </a:cubicBezTo>
                  <a:cubicBezTo>
                    <a:pt x="2" y="52"/>
                    <a:pt x="0" y="45"/>
                    <a:pt x="0" y="42"/>
                  </a:cubicBezTo>
                  <a:cubicBezTo>
                    <a:pt x="0" y="41"/>
                    <a:pt x="0" y="26"/>
                    <a:pt x="12" y="24"/>
                  </a:cubicBezTo>
                  <a:cubicBezTo>
                    <a:pt x="17" y="23"/>
                    <a:pt x="20" y="23"/>
                    <a:pt x="22" y="25"/>
                  </a:cubicBezTo>
                  <a:cubicBezTo>
                    <a:pt x="23" y="26"/>
                    <a:pt x="24" y="26"/>
                    <a:pt x="24" y="27"/>
                  </a:cubicBezTo>
                  <a:cubicBezTo>
                    <a:pt x="26" y="28"/>
                    <a:pt x="30" y="28"/>
                    <a:pt x="33" y="27"/>
                  </a:cubicBezTo>
                  <a:cubicBezTo>
                    <a:pt x="34" y="27"/>
                    <a:pt x="35" y="26"/>
                    <a:pt x="36" y="26"/>
                  </a:cubicBezTo>
                  <a:cubicBezTo>
                    <a:pt x="37" y="23"/>
                    <a:pt x="37" y="20"/>
                    <a:pt x="36" y="18"/>
                  </a:cubicBezTo>
                  <a:cubicBezTo>
                    <a:pt x="34" y="19"/>
                    <a:pt x="31" y="19"/>
                    <a:pt x="29" y="18"/>
                  </a:cubicBezTo>
                  <a:cubicBezTo>
                    <a:pt x="27" y="17"/>
                    <a:pt x="26" y="15"/>
                    <a:pt x="26" y="12"/>
                  </a:cubicBezTo>
                  <a:cubicBezTo>
                    <a:pt x="25" y="5"/>
                    <a:pt x="42" y="1"/>
                    <a:pt x="45" y="0"/>
                  </a:cubicBezTo>
                  <a:cubicBezTo>
                    <a:pt x="46" y="0"/>
                    <a:pt x="47" y="1"/>
                    <a:pt x="47" y="2"/>
                  </a:cubicBezTo>
                  <a:cubicBezTo>
                    <a:pt x="48" y="3"/>
                    <a:pt x="47" y="4"/>
                    <a:pt x="46" y="4"/>
                  </a:cubicBezTo>
                  <a:cubicBezTo>
                    <a:pt x="38" y="6"/>
                    <a:pt x="30" y="9"/>
                    <a:pt x="30" y="12"/>
                  </a:cubicBezTo>
                  <a:cubicBezTo>
                    <a:pt x="30" y="13"/>
                    <a:pt x="30" y="14"/>
                    <a:pt x="31" y="15"/>
                  </a:cubicBezTo>
                  <a:cubicBezTo>
                    <a:pt x="32" y="15"/>
                    <a:pt x="34" y="15"/>
                    <a:pt x="35" y="14"/>
                  </a:cubicBezTo>
                  <a:cubicBezTo>
                    <a:pt x="36" y="14"/>
                    <a:pt x="38" y="14"/>
                    <a:pt x="38" y="14"/>
                  </a:cubicBezTo>
                  <a:cubicBezTo>
                    <a:pt x="41" y="16"/>
                    <a:pt x="41" y="23"/>
                    <a:pt x="40" y="28"/>
                  </a:cubicBezTo>
                  <a:cubicBezTo>
                    <a:pt x="40" y="29"/>
                    <a:pt x="39" y="30"/>
                    <a:pt x="38" y="30"/>
                  </a:cubicBezTo>
                  <a:cubicBezTo>
                    <a:pt x="37" y="30"/>
                    <a:pt x="36" y="30"/>
                    <a:pt x="34" y="31"/>
                  </a:cubicBezTo>
                  <a:cubicBezTo>
                    <a:pt x="30" y="32"/>
                    <a:pt x="24" y="33"/>
                    <a:pt x="21" y="29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0" y="28"/>
                    <a:pt x="18" y="27"/>
                    <a:pt x="12" y="28"/>
                  </a:cubicBezTo>
                  <a:cubicBezTo>
                    <a:pt x="4" y="30"/>
                    <a:pt x="4" y="42"/>
                    <a:pt x="4" y="42"/>
                  </a:cubicBezTo>
                  <a:cubicBezTo>
                    <a:pt x="4" y="42"/>
                    <a:pt x="4" y="48"/>
                    <a:pt x="8" y="48"/>
                  </a:cubicBezTo>
                  <a:cubicBezTo>
                    <a:pt x="9" y="48"/>
                    <a:pt x="10" y="48"/>
                    <a:pt x="11" y="48"/>
                  </a:cubicBezTo>
                  <a:cubicBezTo>
                    <a:pt x="14" y="48"/>
                    <a:pt x="18" y="48"/>
                    <a:pt x="20" y="50"/>
                  </a:cubicBezTo>
                  <a:cubicBezTo>
                    <a:pt x="21" y="51"/>
                    <a:pt x="22" y="53"/>
                    <a:pt x="22" y="55"/>
                  </a:cubicBezTo>
                  <a:cubicBezTo>
                    <a:pt x="24" y="57"/>
                    <a:pt x="26" y="60"/>
                    <a:pt x="26" y="62"/>
                  </a:cubicBezTo>
                  <a:cubicBezTo>
                    <a:pt x="26" y="63"/>
                    <a:pt x="25" y="65"/>
                    <a:pt x="25" y="66"/>
                  </a:cubicBezTo>
                  <a:cubicBezTo>
                    <a:pt x="24" y="67"/>
                    <a:pt x="24" y="67"/>
                    <a:pt x="24" y="68"/>
                  </a:cubicBezTo>
                  <a:cubicBezTo>
                    <a:pt x="24" y="69"/>
                    <a:pt x="27" y="75"/>
                    <a:pt x="28" y="76"/>
                  </a:cubicBezTo>
                  <a:cubicBezTo>
                    <a:pt x="35" y="76"/>
                    <a:pt x="38" y="73"/>
                    <a:pt x="38" y="68"/>
                  </a:cubicBezTo>
                  <a:cubicBezTo>
                    <a:pt x="38" y="67"/>
                    <a:pt x="39" y="66"/>
                    <a:pt x="39" y="66"/>
                  </a:cubicBezTo>
                  <a:cubicBezTo>
                    <a:pt x="39" y="66"/>
                    <a:pt x="42" y="65"/>
                    <a:pt x="45" y="63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4" y="62"/>
                    <a:pt x="44" y="61"/>
                  </a:cubicBezTo>
                  <a:cubicBezTo>
                    <a:pt x="43" y="61"/>
                    <a:pt x="42" y="60"/>
                    <a:pt x="42" y="58"/>
                  </a:cubicBezTo>
                  <a:cubicBezTo>
                    <a:pt x="42" y="57"/>
                    <a:pt x="43" y="55"/>
                    <a:pt x="45" y="53"/>
                  </a:cubicBezTo>
                  <a:cubicBezTo>
                    <a:pt x="48" y="50"/>
                    <a:pt x="51" y="47"/>
                    <a:pt x="51" y="44"/>
                  </a:cubicBezTo>
                  <a:cubicBezTo>
                    <a:pt x="49" y="45"/>
                    <a:pt x="47" y="45"/>
                    <a:pt x="45" y="43"/>
                  </a:cubicBezTo>
                  <a:cubicBezTo>
                    <a:pt x="44" y="43"/>
                    <a:pt x="44" y="43"/>
                    <a:pt x="44" y="42"/>
                  </a:cubicBezTo>
                  <a:cubicBezTo>
                    <a:pt x="43" y="40"/>
                    <a:pt x="42" y="37"/>
                    <a:pt x="42" y="36"/>
                  </a:cubicBezTo>
                  <a:cubicBezTo>
                    <a:pt x="41" y="36"/>
                    <a:pt x="40" y="35"/>
                    <a:pt x="40" y="35"/>
                  </a:cubicBezTo>
                  <a:cubicBezTo>
                    <a:pt x="40" y="34"/>
                    <a:pt x="39" y="33"/>
                    <a:pt x="40" y="32"/>
                  </a:cubicBezTo>
                  <a:cubicBezTo>
                    <a:pt x="42" y="30"/>
                    <a:pt x="49" y="27"/>
                    <a:pt x="56" y="28"/>
                  </a:cubicBezTo>
                  <a:cubicBezTo>
                    <a:pt x="62" y="24"/>
                    <a:pt x="64" y="15"/>
                    <a:pt x="64" y="15"/>
                  </a:cubicBezTo>
                  <a:cubicBezTo>
                    <a:pt x="64" y="14"/>
                    <a:pt x="65" y="13"/>
                    <a:pt x="66" y="13"/>
                  </a:cubicBezTo>
                  <a:cubicBezTo>
                    <a:pt x="67" y="13"/>
                    <a:pt x="68" y="14"/>
                    <a:pt x="68" y="15"/>
                  </a:cubicBezTo>
                  <a:cubicBezTo>
                    <a:pt x="68" y="16"/>
                    <a:pt x="66" y="27"/>
                    <a:pt x="57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1" y="31"/>
                    <a:pt x="47" y="32"/>
                    <a:pt x="45" y="34"/>
                  </a:cubicBezTo>
                  <a:cubicBezTo>
                    <a:pt x="46" y="35"/>
                    <a:pt x="47" y="37"/>
                    <a:pt x="48" y="41"/>
                  </a:cubicBezTo>
                  <a:cubicBezTo>
                    <a:pt x="49" y="41"/>
                    <a:pt x="50" y="41"/>
                    <a:pt x="51" y="40"/>
                  </a:cubicBezTo>
                  <a:cubicBezTo>
                    <a:pt x="52" y="40"/>
                    <a:pt x="53" y="40"/>
                    <a:pt x="53" y="41"/>
                  </a:cubicBezTo>
                  <a:cubicBezTo>
                    <a:pt x="58" y="45"/>
                    <a:pt x="52" y="52"/>
                    <a:pt x="48" y="56"/>
                  </a:cubicBezTo>
                  <a:cubicBezTo>
                    <a:pt x="48" y="57"/>
                    <a:pt x="47" y="57"/>
                    <a:pt x="46" y="58"/>
                  </a:cubicBezTo>
                  <a:cubicBezTo>
                    <a:pt x="46" y="58"/>
                    <a:pt x="47" y="58"/>
                    <a:pt x="47" y="58"/>
                  </a:cubicBezTo>
                  <a:cubicBezTo>
                    <a:pt x="48" y="59"/>
                    <a:pt x="49" y="60"/>
                    <a:pt x="49" y="62"/>
                  </a:cubicBezTo>
                  <a:cubicBezTo>
                    <a:pt x="49" y="63"/>
                    <a:pt x="48" y="64"/>
                    <a:pt x="47" y="65"/>
                  </a:cubicBezTo>
                  <a:cubicBezTo>
                    <a:pt x="45" y="67"/>
                    <a:pt x="43" y="69"/>
                    <a:pt x="42" y="69"/>
                  </a:cubicBezTo>
                  <a:cubicBezTo>
                    <a:pt x="41" y="76"/>
                    <a:pt x="36" y="80"/>
                    <a:pt x="2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A7FEB72E-F1B4-4479-45A3-6B6794DCC42D}"/>
              </a:ext>
            </a:extLst>
          </p:cNvPr>
          <p:cNvGrpSpPr>
            <a:grpSpLocks noChangeAspect="1"/>
          </p:cNvGrpSpPr>
          <p:nvPr/>
        </p:nvGrpSpPr>
        <p:grpSpPr>
          <a:xfrm>
            <a:off x="4559254" y="4559325"/>
            <a:ext cx="287999" cy="288000"/>
            <a:chOff x="9682163" y="2754313"/>
            <a:chExt cx="371475" cy="371476"/>
          </a:xfrm>
          <a:solidFill>
            <a:schemeClr val="bg1"/>
          </a:solidFill>
        </p:grpSpPr>
        <p:sp>
          <p:nvSpPr>
            <p:cNvPr id="125" name="Freeform 46">
              <a:extLst>
                <a:ext uri="{FF2B5EF4-FFF2-40B4-BE49-F238E27FC236}">
                  <a16:creationId xmlns:a16="http://schemas.microsoft.com/office/drawing/2014/main" id="{716E1BE5-D0B9-48D8-7084-4F4BADE17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2163" y="3109913"/>
              <a:ext cx="371475" cy="15875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47">
              <a:extLst>
                <a:ext uri="{FF2B5EF4-FFF2-40B4-BE49-F238E27FC236}">
                  <a16:creationId xmlns:a16="http://schemas.microsoft.com/office/drawing/2014/main" id="{8387203C-31D3-EDF8-C041-518972344E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8038" y="3033713"/>
              <a:ext cx="61913" cy="92075"/>
            </a:xfrm>
            <a:custGeom>
              <a:avLst/>
              <a:gdLst>
                <a:gd name="T0" fmla="*/ 14 w 16"/>
                <a:gd name="T1" fmla="*/ 24 h 24"/>
                <a:gd name="T2" fmla="*/ 2 w 16"/>
                <a:gd name="T3" fmla="*/ 24 h 24"/>
                <a:gd name="T4" fmla="*/ 0 w 16"/>
                <a:gd name="T5" fmla="*/ 22 h 24"/>
                <a:gd name="T6" fmla="*/ 0 w 16"/>
                <a:gd name="T7" fmla="*/ 2 h 24"/>
                <a:gd name="T8" fmla="*/ 2 w 16"/>
                <a:gd name="T9" fmla="*/ 0 h 24"/>
                <a:gd name="T10" fmla="*/ 14 w 16"/>
                <a:gd name="T11" fmla="*/ 0 h 24"/>
                <a:gd name="T12" fmla="*/ 16 w 16"/>
                <a:gd name="T13" fmla="*/ 2 h 24"/>
                <a:gd name="T14" fmla="*/ 16 w 16"/>
                <a:gd name="T15" fmla="*/ 22 h 24"/>
                <a:gd name="T16" fmla="*/ 14 w 16"/>
                <a:gd name="T17" fmla="*/ 24 h 24"/>
                <a:gd name="T18" fmla="*/ 4 w 16"/>
                <a:gd name="T19" fmla="*/ 20 h 24"/>
                <a:gd name="T20" fmla="*/ 12 w 16"/>
                <a:gd name="T21" fmla="*/ 20 h 24"/>
                <a:gd name="T22" fmla="*/ 12 w 16"/>
                <a:gd name="T23" fmla="*/ 4 h 24"/>
                <a:gd name="T24" fmla="*/ 4 w 16"/>
                <a:gd name="T25" fmla="*/ 4 h 24"/>
                <a:gd name="T26" fmla="*/ 4 w 16"/>
                <a:gd name="T27" fmla="*/ 2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4">
                  <a:moveTo>
                    <a:pt x="14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5" y="24"/>
                    <a:pt x="14" y="24"/>
                  </a:cubicBezTo>
                  <a:close/>
                  <a:moveTo>
                    <a:pt x="4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48">
              <a:extLst>
                <a:ext uri="{FF2B5EF4-FFF2-40B4-BE49-F238E27FC236}">
                  <a16:creationId xmlns:a16="http://schemas.microsoft.com/office/drawing/2014/main" id="{02139511-8E64-F885-8220-1C814D578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90113" y="2955926"/>
              <a:ext cx="61913" cy="169863"/>
            </a:xfrm>
            <a:custGeom>
              <a:avLst/>
              <a:gdLst>
                <a:gd name="T0" fmla="*/ 14 w 16"/>
                <a:gd name="T1" fmla="*/ 44 h 44"/>
                <a:gd name="T2" fmla="*/ 2 w 16"/>
                <a:gd name="T3" fmla="*/ 44 h 44"/>
                <a:gd name="T4" fmla="*/ 0 w 16"/>
                <a:gd name="T5" fmla="*/ 42 h 44"/>
                <a:gd name="T6" fmla="*/ 0 w 16"/>
                <a:gd name="T7" fmla="*/ 2 h 44"/>
                <a:gd name="T8" fmla="*/ 2 w 16"/>
                <a:gd name="T9" fmla="*/ 0 h 44"/>
                <a:gd name="T10" fmla="*/ 14 w 16"/>
                <a:gd name="T11" fmla="*/ 0 h 44"/>
                <a:gd name="T12" fmla="*/ 16 w 16"/>
                <a:gd name="T13" fmla="*/ 2 h 44"/>
                <a:gd name="T14" fmla="*/ 16 w 16"/>
                <a:gd name="T15" fmla="*/ 42 h 44"/>
                <a:gd name="T16" fmla="*/ 14 w 16"/>
                <a:gd name="T17" fmla="*/ 44 h 44"/>
                <a:gd name="T18" fmla="*/ 4 w 16"/>
                <a:gd name="T19" fmla="*/ 40 h 44"/>
                <a:gd name="T20" fmla="*/ 12 w 16"/>
                <a:gd name="T21" fmla="*/ 40 h 44"/>
                <a:gd name="T22" fmla="*/ 12 w 16"/>
                <a:gd name="T23" fmla="*/ 4 h 44"/>
                <a:gd name="T24" fmla="*/ 4 w 16"/>
                <a:gd name="T25" fmla="*/ 4 h 44"/>
                <a:gd name="T26" fmla="*/ 4 w 16"/>
                <a:gd name="T2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44">
                  <a:moveTo>
                    <a:pt x="14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5" y="44"/>
                    <a:pt x="14" y="44"/>
                  </a:cubicBezTo>
                  <a:close/>
                  <a:moveTo>
                    <a:pt x="4" y="40"/>
                  </a:moveTo>
                  <a:cubicBezTo>
                    <a:pt x="12" y="40"/>
                    <a:pt x="12" y="40"/>
                    <a:pt x="12" y="4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49">
              <a:extLst>
                <a:ext uri="{FF2B5EF4-FFF2-40B4-BE49-F238E27FC236}">
                  <a16:creationId xmlns:a16="http://schemas.microsoft.com/office/drawing/2014/main" id="{712B0B40-83AB-00F7-831A-C4EBA87D6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83776" y="2986088"/>
              <a:ext cx="61913" cy="139700"/>
            </a:xfrm>
            <a:custGeom>
              <a:avLst/>
              <a:gdLst>
                <a:gd name="T0" fmla="*/ 14 w 16"/>
                <a:gd name="T1" fmla="*/ 36 h 36"/>
                <a:gd name="T2" fmla="*/ 2 w 16"/>
                <a:gd name="T3" fmla="*/ 36 h 36"/>
                <a:gd name="T4" fmla="*/ 0 w 16"/>
                <a:gd name="T5" fmla="*/ 34 h 36"/>
                <a:gd name="T6" fmla="*/ 0 w 16"/>
                <a:gd name="T7" fmla="*/ 2 h 36"/>
                <a:gd name="T8" fmla="*/ 2 w 16"/>
                <a:gd name="T9" fmla="*/ 0 h 36"/>
                <a:gd name="T10" fmla="*/ 14 w 16"/>
                <a:gd name="T11" fmla="*/ 0 h 36"/>
                <a:gd name="T12" fmla="*/ 16 w 16"/>
                <a:gd name="T13" fmla="*/ 2 h 36"/>
                <a:gd name="T14" fmla="*/ 16 w 16"/>
                <a:gd name="T15" fmla="*/ 34 h 36"/>
                <a:gd name="T16" fmla="*/ 14 w 16"/>
                <a:gd name="T17" fmla="*/ 36 h 36"/>
                <a:gd name="T18" fmla="*/ 4 w 16"/>
                <a:gd name="T19" fmla="*/ 32 h 36"/>
                <a:gd name="T20" fmla="*/ 12 w 16"/>
                <a:gd name="T21" fmla="*/ 32 h 36"/>
                <a:gd name="T22" fmla="*/ 12 w 16"/>
                <a:gd name="T23" fmla="*/ 4 h 36"/>
                <a:gd name="T24" fmla="*/ 4 w 16"/>
                <a:gd name="T25" fmla="*/ 4 h 36"/>
                <a:gd name="T26" fmla="*/ 4 w 16"/>
                <a:gd name="T27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6">
                  <a:moveTo>
                    <a:pt x="14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0" y="35"/>
                    <a:pt x="0" y="3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5" y="36"/>
                    <a:pt x="14" y="36"/>
                  </a:cubicBezTo>
                  <a:close/>
                  <a:moveTo>
                    <a:pt x="4" y="32"/>
                  </a:moveTo>
                  <a:cubicBezTo>
                    <a:pt x="12" y="32"/>
                    <a:pt x="12" y="32"/>
                    <a:pt x="12" y="32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50">
              <a:extLst>
                <a:ext uri="{FF2B5EF4-FFF2-40B4-BE49-F238E27FC236}">
                  <a16:creationId xmlns:a16="http://schemas.microsoft.com/office/drawing/2014/main" id="{380F5700-64D7-F333-7C37-5E79DA777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5851" y="2878138"/>
              <a:ext cx="61913" cy="247650"/>
            </a:xfrm>
            <a:custGeom>
              <a:avLst/>
              <a:gdLst>
                <a:gd name="T0" fmla="*/ 14 w 16"/>
                <a:gd name="T1" fmla="*/ 64 h 64"/>
                <a:gd name="T2" fmla="*/ 2 w 16"/>
                <a:gd name="T3" fmla="*/ 64 h 64"/>
                <a:gd name="T4" fmla="*/ 0 w 16"/>
                <a:gd name="T5" fmla="*/ 62 h 64"/>
                <a:gd name="T6" fmla="*/ 0 w 16"/>
                <a:gd name="T7" fmla="*/ 2 h 64"/>
                <a:gd name="T8" fmla="*/ 2 w 16"/>
                <a:gd name="T9" fmla="*/ 0 h 64"/>
                <a:gd name="T10" fmla="*/ 14 w 16"/>
                <a:gd name="T11" fmla="*/ 0 h 64"/>
                <a:gd name="T12" fmla="*/ 16 w 16"/>
                <a:gd name="T13" fmla="*/ 2 h 64"/>
                <a:gd name="T14" fmla="*/ 16 w 16"/>
                <a:gd name="T15" fmla="*/ 62 h 64"/>
                <a:gd name="T16" fmla="*/ 14 w 16"/>
                <a:gd name="T17" fmla="*/ 64 h 64"/>
                <a:gd name="T18" fmla="*/ 4 w 16"/>
                <a:gd name="T19" fmla="*/ 60 h 64"/>
                <a:gd name="T20" fmla="*/ 12 w 16"/>
                <a:gd name="T21" fmla="*/ 60 h 64"/>
                <a:gd name="T22" fmla="*/ 12 w 16"/>
                <a:gd name="T23" fmla="*/ 4 h 64"/>
                <a:gd name="T24" fmla="*/ 4 w 16"/>
                <a:gd name="T25" fmla="*/ 4 h 64"/>
                <a:gd name="T26" fmla="*/ 4 w 16"/>
                <a:gd name="T2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64">
                  <a:moveTo>
                    <a:pt x="14" y="64"/>
                  </a:move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0" y="63"/>
                    <a:pt x="0" y="6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3"/>
                    <a:pt x="15" y="64"/>
                    <a:pt x="14" y="64"/>
                  </a:cubicBezTo>
                  <a:close/>
                  <a:moveTo>
                    <a:pt x="4" y="60"/>
                  </a:moveTo>
                  <a:cubicBezTo>
                    <a:pt x="12" y="60"/>
                    <a:pt x="12" y="60"/>
                    <a:pt x="12" y="6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Freeform 51">
              <a:extLst>
                <a:ext uri="{FF2B5EF4-FFF2-40B4-BE49-F238E27FC236}">
                  <a16:creationId xmlns:a16="http://schemas.microsoft.com/office/drawing/2014/main" id="{32768D3F-3F9C-B2A6-B990-2E808DD41E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5976" y="2909888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reeform 52">
              <a:extLst>
                <a:ext uri="{FF2B5EF4-FFF2-40B4-BE49-F238E27FC236}">
                  <a16:creationId xmlns:a16="http://schemas.microsoft.com/office/drawing/2014/main" id="{A4D5ED60-C13C-DC10-0107-C16C270B9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98051" y="2832101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Freeform 53">
              <a:extLst>
                <a:ext uri="{FF2B5EF4-FFF2-40B4-BE49-F238E27FC236}">
                  <a16:creationId xmlns:a16="http://schemas.microsoft.com/office/drawing/2014/main" id="{87143CCA-C08D-3270-484C-B07F28B2D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2862263"/>
              <a:ext cx="46038" cy="47625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54">
              <a:extLst>
                <a:ext uri="{FF2B5EF4-FFF2-40B4-BE49-F238E27FC236}">
                  <a16:creationId xmlns:a16="http://schemas.microsoft.com/office/drawing/2014/main" id="{5EA203AF-9FFC-0238-682D-AAB53F7F2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3788" y="2754313"/>
              <a:ext cx="46038" cy="46038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  <a:gd name="T10" fmla="*/ 6 w 12"/>
                <a:gd name="T11" fmla="*/ 4 h 12"/>
                <a:gd name="T12" fmla="*/ 4 w 12"/>
                <a:gd name="T13" fmla="*/ 6 h 12"/>
                <a:gd name="T14" fmla="*/ 6 w 12"/>
                <a:gd name="T15" fmla="*/ 8 h 12"/>
                <a:gd name="T16" fmla="*/ 8 w 12"/>
                <a:gd name="T17" fmla="*/ 6 h 12"/>
                <a:gd name="T18" fmla="*/ 6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"/>
                    <a:pt x="9" y="12"/>
                    <a:pt x="6" y="12"/>
                  </a:cubicBezTo>
                  <a:close/>
                  <a:moveTo>
                    <a:pt x="6" y="4"/>
                  </a:moveTo>
                  <a:cubicBezTo>
                    <a:pt x="5" y="4"/>
                    <a:pt x="4" y="5"/>
                    <a:pt x="4" y="6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7" y="8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55">
              <a:extLst>
                <a:ext uri="{FF2B5EF4-FFF2-40B4-BE49-F238E27FC236}">
                  <a16:creationId xmlns:a16="http://schemas.microsoft.com/office/drawing/2014/main" id="{5B50FD72-E1C6-ACDB-B8EC-91B0DB05A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2963" y="2854326"/>
              <a:ext cx="84138" cy="74613"/>
            </a:xfrm>
            <a:custGeom>
              <a:avLst/>
              <a:gdLst>
                <a:gd name="T0" fmla="*/ 2 w 22"/>
                <a:gd name="T1" fmla="*/ 19 h 19"/>
                <a:gd name="T2" fmla="*/ 1 w 22"/>
                <a:gd name="T3" fmla="*/ 19 h 19"/>
                <a:gd name="T4" fmla="*/ 1 w 22"/>
                <a:gd name="T5" fmla="*/ 16 h 19"/>
                <a:gd name="T6" fmla="*/ 19 w 22"/>
                <a:gd name="T7" fmla="*/ 1 h 19"/>
                <a:gd name="T8" fmla="*/ 21 w 22"/>
                <a:gd name="T9" fmla="*/ 1 h 19"/>
                <a:gd name="T10" fmla="*/ 21 w 22"/>
                <a:gd name="T11" fmla="*/ 4 h 19"/>
                <a:gd name="T12" fmla="*/ 3 w 22"/>
                <a:gd name="T13" fmla="*/ 19 h 19"/>
                <a:gd name="T14" fmla="*/ 2 w 22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9">
                  <a:moveTo>
                    <a:pt x="2" y="19"/>
                  </a:moveTo>
                  <a:cubicBezTo>
                    <a:pt x="2" y="19"/>
                    <a:pt x="1" y="19"/>
                    <a:pt x="1" y="19"/>
                  </a:cubicBezTo>
                  <a:cubicBezTo>
                    <a:pt x="0" y="18"/>
                    <a:pt x="0" y="17"/>
                    <a:pt x="1" y="16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21" y="0"/>
                    <a:pt x="21" y="1"/>
                  </a:cubicBezTo>
                  <a:cubicBezTo>
                    <a:pt x="22" y="2"/>
                    <a:pt x="22" y="3"/>
                    <a:pt x="21" y="4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56">
              <a:extLst>
                <a:ext uri="{FF2B5EF4-FFF2-40B4-BE49-F238E27FC236}">
                  <a16:creationId xmlns:a16="http://schemas.microsoft.com/office/drawing/2014/main" id="{61C2B83C-E12E-8B11-59D7-652CB0632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2976" y="2851151"/>
              <a:ext cx="69850" cy="38100"/>
            </a:xfrm>
            <a:custGeom>
              <a:avLst/>
              <a:gdLst>
                <a:gd name="T0" fmla="*/ 42 w 44"/>
                <a:gd name="T1" fmla="*/ 24 h 24"/>
                <a:gd name="T2" fmla="*/ 0 w 44"/>
                <a:gd name="T3" fmla="*/ 10 h 24"/>
                <a:gd name="T4" fmla="*/ 3 w 44"/>
                <a:gd name="T5" fmla="*/ 0 h 24"/>
                <a:gd name="T6" fmla="*/ 44 w 44"/>
                <a:gd name="T7" fmla="*/ 15 h 24"/>
                <a:gd name="T8" fmla="*/ 42 w 44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4">
                  <a:moveTo>
                    <a:pt x="42" y="24"/>
                  </a:moveTo>
                  <a:lnTo>
                    <a:pt x="0" y="10"/>
                  </a:lnTo>
                  <a:lnTo>
                    <a:pt x="3" y="0"/>
                  </a:lnTo>
                  <a:lnTo>
                    <a:pt x="44" y="15"/>
                  </a:lnTo>
                  <a:lnTo>
                    <a:pt x="4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57">
              <a:extLst>
                <a:ext uri="{FF2B5EF4-FFF2-40B4-BE49-F238E27FC236}">
                  <a16:creationId xmlns:a16="http://schemas.microsoft.com/office/drawing/2014/main" id="{886B3D14-A01C-2F50-1340-40F81412C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8" y="2781301"/>
              <a:ext cx="93663" cy="100013"/>
            </a:xfrm>
            <a:custGeom>
              <a:avLst/>
              <a:gdLst>
                <a:gd name="T0" fmla="*/ 3 w 24"/>
                <a:gd name="T1" fmla="*/ 26 h 26"/>
                <a:gd name="T2" fmla="*/ 1 w 24"/>
                <a:gd name="T3" fmla="*/ 25 h 26"/>
                <a:gd name="T4" fmla="*/ 1 w 24"/>
                <a:gd name="T5" fmla="*/ 23 h 26"/>
                <a:gd name="T6" fmla="*/ 20 w 24"/>
                <a:gd name="T7" fmla="*/ 1 h 26"/>
                <a:gd name="T8" fmla="*/ 23 w 24"/>
                <a:gd name="T9" fmla="*/ 1 h 26"/>
                <a:gd name="T10" fmla="*/ 23 w 24"/>
                <a:gd name="T11" fmla="*/ 3 h 26"/>
                <a:gd name="T12" fmla="*/ 4 w 24"/>
                <a:gd name="T13" fmla="*/ 25 h 26"/>
                <a:gd name="T14" fmla="*/ 3 w 24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6">
                  <a:moveTo>
                    <a:pt x="3" y="26"/>
                  </a:moveTo>
                  <a:cubicBezTo>
                    <a:pt x="2" y="26"/>
                    <a:pt x="2" y="26"/>
                    <a:pt x="1" y="25"/>
                  </a:cubicBezTo>
                  <a:cubicBezTo>
                    <a:pt x="0" y="25"/>
                    <a:pt x="0" y="23"/>
                    <a:pt x="1" y="2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24" y="1"/>
                    <a:pt x="24" y="2"/>
                    <a:pt x="23" y="3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3" y="26"/>
                    <a:pt x="3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C0F20D19-A489-765B-929A-85CF504411C6}"/>
              </a:ext>
            </a:extLst>
          </p:cNvPr>
          <p:cNvGrpSpPr/>
          <p:nvPr/>
        </p:nvGrpSpPr>
        <p:grpSpPr>
          <a:xfrm>
            <a:off x="1981490" y="4719153"/>
            <a:ext cx="4791806" cy="2303030"/>
            <a:chOff x="411691" y="4925688"/>
            <a:chExt cx="4791806" cy="2303030"/>
          </a:xfrm>
        </p:grpSpPr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96A92612-DD93-288E-7B69-B610D6333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91" y="5700880"/>
              <a:ext cx="4791806" cy="1527838"/>
            </a:xfrm>
            <a:custGeom>
              <a:avLst/>
              <a:gdLst>
                <a:gd name="T0" fmla="*/ 3776 w 3776"/>
                <a:gd name="T1" fmla="*/ 310 h 1204"/>
                <a:gd name="T2" fmla="*/ 0 w 3776"/>
                <a:gd name="T3" fmla="*/ 235 h 1204"/>
                <a:gd name="T4" fmla="*/ 886 w 3776"/>
                <a:gd name="T5" fmla="*/ 0 h 1204"/>
                <a:gd name="T6" fmla="*/ 3776 w 3776"/>
                <a:gd name="T7" fmla="*/ 310 h 1204"/>
                <a:gd name="T8" fmla="*/ 3776 w 3776"/>
                <a:gd name="T9" fmla="*/ 310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76" h="1204">
                  <a:moveTo>
                    <a:pt x="3776" y="310"/>
                  </a:moveTo>
                  <a:cubicBezTo>
                    <a:pt x="3776" y="310"/>
                    <a:pt x="1859" y="1204"/>
                    <a:pt x="0" y="235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3776" y="310"/>
                    <a:pt x="3776" y="310"/>
                    <a:pt x="3776" y="310"/>
                  </a:cubicBezTo>
                  <a:cubicBezTo>
                    <a:pt x="3776" y="310"/>
                    <a:pt x="3776" y="310"/>
                    <a:pt x="3776" y="310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18">
              <a:extLst>
                <a:ext uri="{FF2B5EF4-FFF2-40B4-BE49-F238E27FC236}">
                  <a16:creationId xmlns:a16="http://schemas.microsoft.com/office/drawing/2014/main" id="{21CE278F-8754-A813-FC48-A6813E24B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91" y="4925688"/>
              <a:ext cx="1363029" cy="1073137"/>
            </a:xfrm>
            <a:custGeom>
              <a:avLst/>
              <a:gdLst>
                <a:gd name="T0" fmla="*/ 0 w 1074"/>
                <a:gd name="T1" fmla="*/ 846 h 846"/>
                <a:gd name="T2" fmla="*/ 885 w 1074"/>
                <a:gd name="T3" fmla="*/ 611 h 846"/>
                <a:gd name="T4" fmla="*/ 1012 w 1074"/>
                <a:gd name="T5" fmla="*/ 437 h 846"/>
                <a:gd name="T6" fmla="*/ 1074 w 1074"/>
                <a:gd name="T7" fmla="*/ 0 h 846"/>
                <a:gd name="T8" fmla="*/ 333 w 1074"/>
                <a:gd name="T9" fmla="*/ 227 h 846"/>
                <a:gd name="T10" fmla="*/ 0 w 1074"/>
                <a:gd name="T11" fmla="*/ 846 h 846"/>
                <a:gd name="T12" fmla="*/ 0 w 1074"/>
                <a:gd name="T13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4" h="846">
                  <a:moveTo>
                    <a:pt x="0" y="846"/>
                  </a:moveTo>
                  <a:cubicBezTo>
                    <a:pt x="885" y="611"/>
                    <a:pt x="885" y="611"/>
                    <a:pt x="885" y="611"/>
                  </a:cubicBezTo>
                  <a:cubicBezTo>
                    <a:pt x="1012" y="437"/>
                    <a:pt x="1012" y="437"/>
                    <a:pt x="1012" y="437"/>
                  </a:cubicBezTo>
                  <a:cubicBezTo>
                    <a:pt x="1074" y="0"/>
                    <a:pt x="1074" y="0"/>
                    <a:pt x="1074" y="0"/>
                  </a:cubicBezTo>
                  <a:cubicBezTo>
                    <a:pt x="1074" y="0"/>
                    <a:pt x="568" y="156"/>
                    <a:pt x="333" y="227"/>
                  </a:cubicBezTo>
                  <a:cubicBezTo>
                    <a:pt x="0" y="846"/>
                    <a:pt x="0" y="846"/>
                    <a:pt x="0" y="846"/>
                  </a:cubicBezTo>
                  <a:cubicBezTo>
                    <a:pt x="0" y="846"/>
                    <a:pt x="0" y="846"/>
                    <a:pt x="0" y="846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19">
              <a:extLst>
                <a:ext uri="{FF2B5EF4-FFF2-40B4-BE49-F238E27FC236}">
                  <a16:creationId xmlns:a16="http://schemas.microsoft.com/office/drawing/2014/main" id="{A84979E6-60E7-74D9-CCD2-5FD3A6304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754" y="4925688"/>
              <a:ext cx="3668743" cy="1895571"/>
            </a:xfrm>
            <a:custGeom>
              <a:avLst/>
              <a:gdLst>
                <a:gd name="T0" fmla="*/ 189 w 2891"/>
                <a:gd name="T1" fmla="*/ 0 h 1494"/>
                <a:gd name="T2" fmla="*/ 0 w 2891"/>
                <a:gd name="T3" fmla="*/ 610 h 1494"/>
                <a:gd name="T4" fmla="*/ 2891 w 2891"/>
                <a:gd name="T5" fmla="*/ 920 h 1494"/>
                <a:gd name="T6" fmla="*/ 2553 w 2891"/>
                <a:gd name="T7" fmla="*/ 338 h 1494"/>
                <a:gd name="T8" fmla="*/ 189 w 2891"/>
                <a:gd name="T9" fmla="*/ 0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1" h="1494">
                  <a:moveTo>
                    <a:pt x="189" y="0"/>
                  </a:moveTo>
                  <a:cubicBezTo>
                    <a:pt x="0" y="610"/>
                    <a:pt x="0" y="610"/>
                    <a:pt x="0" y="610"/>
                  </a:cubicBezTo>
                  <a:cubicBezTo>
                    <a:pt x="0" y="610"/>
                    <a:pt x="1567" y="1494"/>
                    <a:pt x="2891" y="920"/>
                  </a:cubicBezTo>
                  <a:cubicBezTo>
                    <a:pt x="2553" y="338"/>
                    <a:pt x="2553" y="338"/>
                    <a:pt x="2553" y="338"/>
                  </a:cubicBezTo>
                  <a:cubicBezTo>
                    <a:pt x="2553" y="338"/>
                    <a:pt x="1452" y="776"/>
                    <a:pt x="189" y="0"/>
                  </a:cubicBezTo>
                  <a:close/>
                </a:path>
              </a:pathLst>
            </a:custGeom>
            <a:solidFill>
              <a:srgbClr val="E87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7120424E-BFA4-FE59-8027-8A6CA5610F7D}"/>
              </a:ext>
            </a:extLst>
          </p:cNvPr>
          <p:cNvGrpSpPr>
            <a:grpSpLocks noChangeAspect="1"/>
          </p:cNvGrpSpPr>
          <p:nvPr/>
        </p:nvGrpSpPr>
        <p:grpSpPr>
          <a:xfrm>
            <a:off x="4659760" y="5520010"/>
            <a:ext cx="195296" cy="288000"/>
            <a:chOff x="9321800" y="3751263"/>
            <a:chExt cx="250825" cy="369887"/>
          </a:xfrm>
          <a:solidFill>
            <a:schemeClr val="bg1"/>
          </a:solidFill>
        </p:grpSpPr>
        <p:sp>
          <p:nvSpPr>
            <p:cNvPr id="142" name="Freeform 61">
              <a:extLst>
                <a:ext uri="{FF2B5EF4-FFF2-40B4-BE49-F238E27FC236}">
                  <a16:creationId xmlns:a16="http://schemas.microsoft.com/office/drawing/2014/main" id="{D863FFCE-75B3-AA3F-518E-B01E310FC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3400" y="3959225"/>
              <a:ext cx="61912" cy="107950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62">
              <a:extLst>
                <a:ext uri="{FF2B5EF4-FFF2-40B4-BE49-F238E27FC236}">
                  <a16:creationId xmlns:a16="http://schemas.microsoft.com/office/drawing/2014/main" id="{F2253D3C-7E18-D794-40D9-883822BD5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4051300"/>
              <a:ext cx="14287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63">
              <a:extLst>
                <a:ext uri="{FF2B5EF4-FFF2-40B4-BE49-F238E27FC236}">
                  <a16:creationId xmlns:a16="http://schemas.microsoft.com/office/drawing/2014/main" id="{03E7CF5F-2F08-0074-95D4-9EA6D5099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3943350"/>
              <a:ext cx="14287" cy="31750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64">
              <a:extLst>
                <a:ext uri="{FF2B5EF4-FFF2-40B4-BE49-F238E27FC236}">
                  <a16:creationId xmlns:a16="http://schemas.microsoft.com/office/drawing/2014/main" id="{811B1E2F-1DF6-099F-9A3E-AD19A9705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21800" y="3905250"/>
              <a:ext cx="250825" cy="215900"/>
            </a:xfrm>
            <a:custGeom>
              <a:avLst/>
              <a:gdLst>
                <a:gd name="T0" fmla="*/ 32 w 64"/>
                <a:gd name="T1" fmla="*/ 56 h 56"/>
                <a:gd name="T2" fmla="*/ 0 w 64"/>
                <a:gd name="T3" fmla="*/ 32 h 56"/>
                <a:gd name="T4" fmla="*/ 20 w 64"/>
                <a:gd name="T5" fmla="*/ 0 h 56"/>
                <a:gd name="T6" fmla="*/ 21 w 64"/>
                <a:gd name="T7" fmla="*/ 0 h 56"/>
                <a:gd name="T8" fmla="*/ 43 w 64"/>
                <a:gd name="T9" fmla="*/ 0 h 56"/>
                <a:gd name="T10" fmla="*/ 44 w 64"/>
                <a:gd name="T11" fmla="*/ 0 h 56"/>
                <a:gd name="T12" fmla="*/ 64 w 64"/>
                <a:gd name="T13" fmla="*/ 32 h 56"/>
                <a:gd name="T14" fmla="*/ 32 w 64"/>
                <a:gd name="T15" fmla="*/ 56 h 56"/>
                <a:gd name="T16" fmla="*/ 22 w 64"/>
                <a:gd name="T17" fmla="*/ 4 h 56"/>
                <a:gd name="T18" fmla="*/ 4 w 64"/>
                <a:gd name="T19" fmla="*/ 32 h 56"/>
                <a:gd name="T20" fmla="*/ 32 w 64"/>
                <a:gd name="T21" fmla="*/ 52 h 56"/>
                <a:gd name="T22" fmla="*/ 60 w 64"/>
                <a:gd name="T23" fmla="*/ 32 h 56"/>
                <a:gd name="T24" fmla="*/ 42 w 64"/>
                <a:gd name="T25" fmla="*/ 4 h 56"/>
                <a:gd name="T26" fmla="*/ 22 w 64"/>
                <a:gd name="T27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6">
                  <a:moveTo>
                    <a:pt x="32" y="56"/>
                  </a:moveTo>
                  <a:cubicBezTo>
                    <a:pt x="10" y="56"/>
                    <a:pt x="0" y="48"/>
                    <a:pt x="0" y="32"/>
                  </a:cubicBezTo>
                  <a:cubicBezTo>
                    <a:pt x="0" y="21"/>
                    <a:pt x="10" y="8"/>
                    <a:pt x="20" y="0"/>
                  </a:cubicBezTo>
                  <a:cubicBezTo>
                    <a:pt x="20" y="0"/>
                    <a:pt x="20" y="0"/>
                    <a:pt x="2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4" y="8"/>
                    <a:pt x="64" y="21"/>
                    <a:pt x="64" y="32"/>
                  </a:cubicBezTo>
                  <a:cubicBezTo>
                    <a:pt x="64" y="48"/>
                    <a:pt x="54" y="56"/>
                    <a:pt x="32" y="56"/>
                  </a:cubicBezTo>
                  <a:close/>
                  <a:moveTo>
                    <a:pt x="22" y="4"/>
                  </a:moveTo>
                  <a:cubicBezTo>
                    <a:pt x="13" y="11"/>
                    <a:pt x="4" y="23"/>
                    <a:pt x="4" y="32"/>
                  </a:cubicBezTo>
                  <a:cubicBezTo>
                    <a:pt x="4" y="42"/>
                    <a:pt x="7" y="52"/>
                    <a:pt x="32" y="52"/>
                  </a:cubicBezTo>
                  <a:cubicBezTo>
                    <a:pt x="57" y="52"/>
                    <a:pt x="60" y="42"/>
                    <a:pt x="60" y="32"/>
                  </a:cubicBezTo>
                  <a:cubicBezTo>
                    <a:pt x="60" y="23"/>
                    <a:pt x="51" y="11"/>
                    <a:pt x="42" y="4"/>
                  </a:cubicBezTo>
                  <a:lnTo>
                    <a:pt x="2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65">
              <a:extLst>
                <a:ext uri="{FF2B5EF4-FFF2-40B4-BE49-F238E27FC236}">
                  <a16:creationId xmlns:a16="http://schemas.microsoft.com/office/drawing/2014/main" id="{59703712-BF84-5175-F90A-230AEDD7D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3713" y="3875088"/>
              <a:ext cx="125412" cy="14287"/>
            </a:xfrm>
            <a:custGeom>
              <a:avLst/>
              <a:gdLst>
                <a:gd name="T0" fmla="*/ 30 w 32"/>
                <a:gd name="T1" fmla="*/ 4 h 4"/>
                <a:gd name="T2" fmla="*/ 2 w 32"/>
                <a:gd name="T3" fmla="*/ 4 h 4"/>
                <a:gd name="T4" fmla="*/ 0 w 32"/>
                <a:gd name="T5" fmla="*/ 2 h 4"/>
                <a:gd name="T6" fmla="*/ 2 w 32"/>
                <a:gd name="T7" fmla="*/ 0 h 4"/>
                <a:gd name="T8" fmla="*/ 30 w 32"/>
                <a:gd name="T9" fmla="*/ 0 h 4"/>
                <a:gd name="T10" fmla="*/ 32 w 32"/>
                <a:gd name="T11" fmla="*/ 2 h 4"/>
                <a:gd name="T12" fmla="*/ 30 w 3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">
                  <a:moveTo>
                    <a:pt x="3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66">
              <a:extLst>
                <a:ext uri="{FF2B5EF4-FFF2-40B4-BE49-F238E27FC236}">
                  <a16:creationId xmlns:a16="http://schemas.microsoft.com/office/drawing/2014/main" id="{C6071B42-AC23-FB24-5863-D4F96C141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7838" y="3751263"/>
              <a:ext cx="157162" cy="107950"/>
            </a:xfrm>
            <a:custGeom>
              <a:avLst/>
              <a:gdLst>
                <a:gd name="T0" fmla="*/ 30 w 40"/>
                <a:gd name="T1" fmla="*/ 28 h 28"/>
                <a:gd name="T2" fmla="*/ 10 w 40"/>
                <a:gd name="T3" fmla="*/ 28 h 28"/>
                <a:gd name="T4" fmla="*/ 8 w 40"/>
                <a:gd name="T5" fmla="*/ 26 h 28"/>
                <a:gd name="T6" fmla="*/ 0 w 40"/>
                <a:gd name="T7" fmla="*/ 7 h 28"/>
                <a:gd name="T8" fmla="*/ 0 w 40"/>
                <a:gd name="T9" fmla="*/ 5 h 28"/>
                <a:gd name="T10" fmla="*/ 3 w 40"/>
                <a:gd name="T11" fmla="*/ 4 h 28"/>
                <a:gd name="T12" fmla="*/ 15 w 40"/>
                <a:gd name="T13" fmla="*/ 9 h 28"/>
                <a:gd name="T14" fmla="*/ 18 w 40"/>
                <a:gd name="T15" fmla="*/ 1 h 28"/>
                <a:gd name="T16" fmla="*/ 22 w 40"/>
                <a:gd name="T17" fmla="*/ 1 h 28"/>
                <a:gd name="T18" fmla="*/ 25 w 40"/>
                <a:gd name="T19" fmla="*/ 9 h 28"/>
                <a:gd name="T20" fmla="*/ 37 w 40"/>
                <a:gd name="T21" fmla="*/ 4 h 28"/>
                <a:gd name="T22" fmla="*/ 40 w 40"/>
                <a:gd name="T23" fmla="*/ 5 h 28"/>
                <a:gd name="T24" fmla="*/ 40 w 40"/>
                <a:gd name="T25" fmla="*/ 7 h 28"/>
                <a:gd name="T26" fmla="*/ 32 w 40"/>
                <a:gd name="T27" fmla="*/ 26 h 28"/>
                <a:gd name="T28" fmla="*/ 30 w 40"/>
                <a:gd name="T29" fmla="*/ 28 h 28"/>
                <a:gd name="T30" fmla="*/ 12 w 40"/>
                <a:gd name="T31" fmla="*/ 24 h 28"/>
                <a:gd name="T32" fmla="*/ 28 w 40"/>
                <a:gd name="T33" fmla="*/ 24 h 28"/>
                <a:gd name="T34" fmla="*/ 33 w 40"/>
                <a:gd name="T35" fmla="*/ 10 h 28"/>
                <a:gd name="T36" fmla="*/ 25 w 40"/>
                <a:gd name="T37" fmla="*/ 14 h 28"/>
                <a:gd name="T38" fmla="*/ 23 w 40"/>
                <a:gd name="T39" fmla="*/ 14 h 28"/>
                <a:gd name="T40" fmla="*/ 22 w 40"/>
                <a:gd name="T41" fmla="*/ 13 h 28"/>
                <a:gd name="T42" fmla="*/ 20 w 40"/>
                <a:gd name="T43" fmla="*/ 7 h 28"/>
                <a:gd name="T44" fmla="*/ 18 w 40"/>
                <a:gd name="T45" fmla="*/ 13 h 28"/>
                <a:gd name="T46" fmla="*/ 17 w 40"/>
                <a:gd name="T47" fmla="*/ 14 h 28"/>
                <a:gd name="T48" fmla="*/ 15 w 40"/>
                <a:gd name="T49" fmla="*/ 14 h 28"/>
                <a:gd name="T50" fmla="*/ 7 w 40"/>
                <a:gd name="T51" fmla="*/ 10 h 28"/>
                <a:gd name="T52" fmla="*/ 12 w 40"/>
                <a:gd name="T53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28">
                  <a:moveTo>
                    <a:pt x="30" y="28"/>
                  </a:move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9"/>
                    <a:pt x="0" y="7"/>
                    <a:pt x="0" y="7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0"/>
                    <a:pt x="22" y="1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4"/>
                    <a:pt x="39" y="4"/>
                    <a:pt x="40" y="5"/>
                  </a:cubicBezTo>
                  <a:cubicBezTo>
                    <a:pt x="40" y="5"/>
                    <a:pt x="40" y="6"/>
                    <a:pt x="40" y="7"/>
                  </a:cubicBezTo>
                  <a:cubicBezTo>
                    <a:pt x="40" y="7"/>
                    <a:pt x="32" y="19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  <a:moveTo>
                    <a:pt x="12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9" y="19"/>
                    <a:pt x="31" y="14"/>
                    <a:pt x="33" y="10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3" y="14"/>
                  </a:cubicBezTo>
                  <a:cubicBezTo>
                    <a:pt x="23" y="14"/>
                    <a:pt x="22" y="13"/>
                    <a:pt x="22" y="1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7" y="14"/>
                    <a:pt x="17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9" y="14"/>
                    <a:pt x="11" y="19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8" name="Picture 147">
            <a:extLst>
              <a:ext uri="{FF2B5EF4-FFF2-40B4-BE49-F238E27FC236}">
                <a16:creationId xmlns:a16="http://schemas.microsoft.com/office/drawing/2014/main" id="{4AC115DD-ADC2-7106-D659-28068DF1AC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E096FD2A-26AC-237C-1D7E-292A1EC261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338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99ADF9A-5D1A-6818-2AA1-904CEAE7CA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34" y="42967"/>
            <a:ext cx="1066864" cy="1067375"/>
          </a:xfrm>
          <a:prstGeom prst="rect">
            <a:avLst/>
          </a:prstGeo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7B6B201-F590-C202-3DA4-2D486FBD3E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31284"/>
              </p:ext>
            </p:extLst>
          </p:nvPr>
        </p:nvGraphicFramePr>
        <p:xfrm>
          <a:off x="1095068" y="1110342"/>
          <a:ext cx="9573208" cy="5635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119">
            <a:extLst>
              <a:ext uri="{FF2B5EF4-FFF2-40B4-BE49-F238E27FC236}">
                <a16:creationId xmlns:a16="http://schemas.microsoft.com/office/drawing/2014/main" id="{A8983C55-C248-98C9-8341-5506A8FC10F3}"/>
              </a:ext>
            </a:extLst>
          </p:cNvPr>
          <p:cNvSpPr txBox="1">
            <a:spLocks/>
          </p:cNvSpPr>
          <p:nvPr/>
        </p:nvSpPr>
        <p:spPr>
          <a:xfrm>
            <a:off x="2958498" y="289249"/>
            <a:ext cx="5976424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alysis of Results per Count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C3F8CD-B83D-0C18-FEC3-5C1A45537E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5434" y="42967"/>
            <a:ext cx="1066865" cy="106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06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 Placeholder 1">
            <a:extLst>
              <a:ext uri="{FF2B5EF4-FFF2-40B4-BE49-F238E27FC236}">
                <a16:creationId xmlns:a16="http://schemas.microsoft.com/office/drawing/2014/main" id="{BC4A3E66-7A74-8E0B-51FA-335ECF452D30}"/>
              </a:ext>
            </a:extLst>
          </p:cNvPr>
          <p:cNvSpPr txBox="1">
            <a:spLocks/>
          </p:cNvSpPr>
          <p:nvPr/>
        </p:nvSpPr>
        <p:spPr>
          <a:xfrm>
            <a:off x="2794000" y="360971"/>
            <a:ext cx="6604000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D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ccess Metric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Slide Number Placeholder 3">
            <a:extLst>
              <a:ext uri="{FF2B5EF4-FFF2-40B4-BE49-F238E27FC236}">
                <a16:creationId xmlns:a16="http://schemas.microsoft.com/office/drawing/2014/main" id="{2DA00D11-44FE-1233-B157-189C549563E4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206E70-9524-410D-AE9B-78D656EAA14D}" type="slidenum">
              <a:rPr lang="en-US" smtClean="0">
                <a:solidFill>
                  <a:prstClr val="black"/>
                </a:solidFill>
                <a:latin typeface="Calibri Light"/>
              </a:rPr>
              <a:pPr/>
              <a:t>5</a:t>
            </a:fld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3" name="Freeform 33">
            <a:extLst>
              <a:ext uri="{FF2B5EF4-FFF2-40B4-BE49-F238E27FC236}">
                <a16:creationId xmlns:a16="http://schemas.microsoft.com/office/drawing/2014/main" id="{A88DCA78-DC54-906A-BF13-8660044B4A20}"/>
              </a:ext>
            </a:extLst>
          </p:cNvPr>
          <p:cNvSpPr>
            <a:spLocks/>
          </p:cNvSpPr>
          <p:nvPr/>
        </p:nvSpPr>
        <p:spPr bwMode="auto">
          <a:xfrm>
            <a:off x="3017603" y="2366336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4" name="Freeform 6">
            <a:extLst>
              <a:ext uri="{FF2B5EF4-FFF2-40B4-BE49-F238E27FC236}">
                <a16:creationId xmlns:a16="http://schemas.microsoft.com/office/drawing/2014/main" id="{45B7F0EE-072D-6C48-9011-EAD8C26CA292}"/>
              </a:ext>
            </a:extLst>
          </p:cNvPr>
          <p:cNvSpPr>
            <a:spLocks/>
          </p:cNvSpPr>
          <p:nvPr/>
        </p:nvSpPr>
        <p:spPr bwMode="auto">
          <a:xfrm>
            <a:off x="2331668" y="4547492"/>
            <a:ext cx="1786795" cy="22428"/>
          </a:xfrm>
          <a:custGeom>
            <a:avLst/>
            <a:gdLst>
              <a:gd name="T0" fmla="*/ 956 w 956"/>
              <a:gd name="T1" fmla="*/ 0 h 12"/>
              <a:gd name="T2" fmla="*/ 0 w 956"/>
              <a:gd name="T3" fmla="*/ 0 h 12"/>
              <a:gd name="T4" fmla="*/ 0 w 956"/>
              <a:gd name="T5" fmla="*/ 12 h 12"/>
              <a:gd name="T6" fmla="*/ 956 w 956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2">
                <a:moveTo>
                  <a:pt x="956" y="0"/>
                </a:moveTo>
                <a:lnTo>
                  <a:pt x="0" y="0"/>
                </a:lnTo>
                <a:lnTo>
                  <a:pt x="0" y="12"/>
                </a:lnTo>
                <a:lnTo>
                  <a:pt x="956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5" name="Oval 7">
            <a:extLst>
              <a:ext uri="{FF2B5EF4-FFF2-40B4-BE49-F238E27FC236}">
                <a16:creationId xmlns:a16="http://schemas.microsoft.com/office/drawing/2014/main" id="{E7A7C06A-5898-87CE-070C-1B9B2A1E7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259" y="4526933"/>
            <a:ext cx="59809" cy="61679"/>
          </a:xfrm>
          <a:prstGeom prst="ellipse">
            <a:avLst/>
          </a:pr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6" name="Freeform 9">
            <a:extLst>
              <a:ext uri="{FF2B5EF4-FFF2-40B4-BE49-F238E27FC236}">
                <a16:creationId xmlns:a16="http://schemas.microsoft.com/office/drawing/2014/main" id="{DF6834E5-23F5-B7BB-A626-6C177C2AD3DC}"/>
              </a:ext>
            </a:extLst>
          </p:cNvPr>
          <p:cNvSpPr>
            <a:spLocks/>
          </p:cNvSpPr>
          <p:nvPr/>
        </p:nvSpPr>
        <p:spPr bwMode="auto">
          <a:xfrm>
            <a:off x="2331668" y="5627793"/>
            <a:ext cx="2334422" cy="22428"/>
          </a:xfrm>
          <a:custGeom>
            <a:avLst/>
            <a:gdLst>
              <a:gd name="T0" fmla="*/ 1249 w 1249"/>
              <a:gd name="T1" fmla="*/ 0 h 12"/>
              <a:gd name="T2" fmla="*/ 0 w 1249"/>
              <a:gd name="T3" fmla="*/ 0 h 12"/>
              <a:gd name="T4" fmla="*/ 0 w 1249"/>
              <a:gd name="T5" fmla="*/ 12 h 12"/>
              <a:gd name="T6" fmla="*/ 1249 w 1249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9" h="12">
                <a:moveTo>
                  <a:pt x="1249" y="0"/>
                </a:moveTo>
                <a:lnTo>
                  <a:pt x="0" y="0"/>
                </a:lnTo>
                <a:lnTo>
                  <a:pt x="0" y="12"/>
                </a:lnTo>
                <a:lnTo>
                  <a:pt x="1249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7" name="Oval 10">
            <a:extLst>
              <a:ext uri="{FF2B5EF4-FFF2-40B4-BE49-F238E27FC236}">
                <a16:creationId xmlns:a16="http://schemas.microsoft.com/office/drawing/2014/main" id="{9F643AA5-D6B4-C6DD-6AD9-636FA8AA1D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259" y="5607234"/>
            <a:ext cx="59809" cy="61679"/>
          </a:xfrm>
          <a:prstGeom prst="ellipse">
            <a:avLst/>
          </a:pr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8" name="Freeform 12">
            <a:extLst>
              <a:ext uri="{FF2B5EF4-FFF2-40B4-BE49-F238E27FC236}">
                <a16:creationId xmlns:a16="http://schemas.microsoft.com/office/drawing/2014/main" id="{7A90BEE2-1FD0-138D-1B6F-F687F83E035B}"/>
              </a:ext>
            </a:extLst>
          </p:cNvPr>
          <p:cNvSpPr>
            <a:spLocks/>
          </p:cNvSpPr>
          <p:nvPr/>
        </p:nvSpPr>
        <p:spPr bwMode="auto">
          <a:xfrm>
            <a:off x="2331669" y="2403713"/>
            <a:ext cx="955076" cy="22428"/>
          </a:xfrm>
          <a:custGeom>
            <a:avLst/>
            <a:gdLst>
              <a:gd name="T0" fmla="*/ 511 w 511"/>
              <a:gd name="T1" fmla="*/ 0 h 12"/>
              <a:gd name="T2" fmla="*/ 0 w 511"/>
              <a:gd name="T3" fmla="*/ 0 h 12"/>
              <a:gd name="T4" fmla="*/ 0 w 511"/>
              <a:gd name="T5" fmla="*/ 12 h 12"/>
              <a:gd name="T6" fmla="*/ 511 w 511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1" h="12">
                <a:moveTo>
                  <a:pt x="511" y="0"/>
                </a:moveTo>
                <a:lnTo>
                  <a:pt x="0" y="0"/>
                </a:lnTo>
                <a:lnTo>
                  <a:pt x="0" y="12"/>
                </a:lnTo>
                <a:lnTo>
                  <a:pt x="511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9" name="Oval 13">
            <a:extLst>
              <a:ext uri="{FF2B5EF4-FFF2-40B4-BE49-F238E27FC236}">
                <a16:creationId xmlns:a16="http://schemas.microsoft.com/office/drawing/2014/main" id="{99FF9D0E-C8AB-5172-EF50-BB195A880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259" y="2383153"/>
            <a:ext cx="59809" cy="61679"/>
          </a:xfrm>
          <a:prstGeom prst="ellipse">
            <a:avLst/>
          </a:pr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0" name="Freeform 15">
            <a:extLst>
              <a:ext uri="{FF2B5EF4-FFF2-40B4-BE49-F238E27FC236}">
                <a16:creationId xmlns:a16="http://schemas.microsoft.com/office/drawing/2014/main" id="{A9AD4200-7C72-AB5E-D1BF-454307EF78D9}"/>
              </a:ext>
            </a:extLst>
          </p:cNvPr>
          <p:cNvSpPr>
            <a:spLocks/>
          </p:cNvSpPr>
          <p:nvPr/>
        </p:nvSpPr>
        <p:spPr bwMode="auto">
          <a:xfrm>
            <a:off x="2331668" y="3467192"/>
            <a:ext cx="1293370" cy="22428"/>
          </a:xfrm>
          <a:custGeom>
            <a:avLst/>
            <a:gdLst>
              <a:gd name="T0" fmla="*/ 692 w 692"/>
              <a:gd name="T1" fmla="*/ 0 h 12"/>
              <a:gd name="T2" fmla="*/ 0 w 692"/>
              <a:gd name="T3" fmla="*/ 0 h 12"/>
              <a:gd name="T4" fmla="*/ 0 w 692"/>
              <a:gd name="T5" fmla="*/ 12 h 12"/>
              <a:gd name="T6" fmla="*/ 692 w 69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12">
                <a:moveTo>
                  <a:pt x="692" y="0"/>
                </a:moveTo>
                <a:lnTo>
                  <a:pt x="0" y="0"/>
                </a:lnTo>
                <a:lnTo>
                  <a:pt x="0" y="12"/>
                </a:lnTo>
                <a:lnTo>
                  <a:pt x="692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1" name="Oval 16">
            <a:extLst>
              <a:ext uri="{FF2B5EF4-FFF2-40B4-BE49-F238E27FC236}">
                <a16:creationId xmlns:a16="http://schemas.microsoft.com/office/drawing/2014/main" id="{C4FECD6E-5CA1-D3EA-7C56-F73421E0AE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4259" y="3448501"/>
            <a:ext cx="59809" cy="59809"/>
          </a:xfrm>
          <a:prstGeom prst="ellipse">
            <a:avLst/>
          </a:pr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2" name="Freeform 17">
            <a:extLst>
              <a:ext uri="{FF2B5EF4-FFF2-40B4-BE49-F238E27FC236}">
                <a16:creationId xmlns:a16="http://schemas.microsoft.com/office/drawing/2014/main" id="{B3B89653-7FD0-DEC5-B04A-21C6B9ECC265}"/>
              </a:ext>
            </a:extLst>
          </p:cNvPr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25232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3" name="Freeform 18">
            <a:extLst>
              <a:ext uri="{FF2B5EF4-FFF2-40B4-BE49-F238E27FC236}">
                <a16:creationId xmlns:a16="http://schemas.microsoft.com/office/drawing/2014/main" id="{1546BCED-FF5C-E7A2-07F5-641E63375FCC}"/>
              </a:ext>
            </a:extLst>
          </p:cNvPr>
          <p:cNvSpPr>
            <a:spLocks/>
          </p:cNvSpPr>
          <p:nvPr/>
        </p:nvSpPr>
        <p:spPr bwMode="auto">
          <a:xfrm>
            <a:off x="4624970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4" name="Freeform 19">
            <a:extLst>
              <a:ext uri="{FF2B5EF4-FFF2-40B4-BE49-F238E27FC236}">
                <a16:creationId xmlns:a16="http://schemas.microsoft.com/office/drawing/2014/main" id="{3AF29829-47AE-548F-5AE2-AD7BABE13476}"/>
              </a:ext>
            </a:extLst>
          </p:cNvPr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  <a:close/>
              </a:path>
            </a:pathLst>
          </a:custGeom>
          <a:solidFill>
            <a:srgbClr val="4CC7C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5" name="Freeform 20">
            <a:extLst>
              <a:ext uri="{FF2B5EF4-FFF2-40B4-BE49-F238E27FC236}">
                <a16:creationId xmlns:a16="http://schemas.microsoft.com/office/drawing/2014/main" id="{6A5E4243-7F78-D020-D131-6ADBA3B999AA}"/>
              </a:ext>
            </a:extLst>
          </p:cNvPr>
          <p:cNvSpPr>
            <a:spLocks/>
          </p:cNvSpPr>
          <p:nvPr/>
        </p:nvSpPr>
        <p:spPr bwMode="auto">
          <a:xfrm>
            <a:off x="4624970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6" name="Freeform 21">
            <a:extLst>
              <a:ext uri="{FF2B5EF4-FFF2-40B4-BE49-F238E27FC236}">
                <a16:creationId xmlns:a16="http://schemas.microsoft.com/office/drawing/2014/main" id="{32DAFC08-A216-8211-29D4-973A66D7E4CC}"/>
              </a:ext>
            </a:extLst>
          </p:cNvPr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  <a:close/>
              </a:path>
            </a:pathLst>
          </a:custGeom>
          <a:solidFill>
            <a:srgbClr val="76717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7" name="Freeform 22">
            <a:extLst>
              <a:ext uri="{FF2B5EF4-FFF2-40B4-BE49-F238E27FC236}">
                <a16:creationId xmlns:a16="http://schemas.microsoft.com/office/drawing/2014/main" id="{C86D1009-60DF-B785-1C19-2C2B60CA1FE2}"/>
              </a:ext>
            </a:extLst>
          </p:cNvPr>
          <p:cNvSpPr>
            <a:spLocks/>
          </p:cNvSpPr>
          <p:nvPr/>
        </p:nvSpPr>
        <p:spPr bwMode="auto">
          <a:xfrm>
            <a:off x="4624970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8" name="Freeform 23">
            <a:extLst>
              <a:ext uri="{FF2B5EF4-FFF2-40B4-BE49-F238E27FC236}">
                <a16:creationId xmlns:a16="http://schemas.microsoft.com/office/drawing/2014/main" id="{62D6C033-9DAB-2090-A52B-82189A3673D7}"/>
              </a:ext>
            </a:extLst>
          </p:cNvPr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D63E2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9" name="Freeform 24">
            <a:extLst>
              <a:ext uri="{FF2B5EF4-FFF2-40B4-BE49-F238E27FC236}">
                <a16:creationId xmlns:a16="http://schemas.microsoft.com/office/drawing/2014/main" id="{1DF3625F-E052-EDD7-1B35-5FAA20B2918D}"/>
              </a:ext>
            </a:extLst>
          </p:cNvPr>
          <p:cNvSpPr>
            <a:spLocks/>
          </p:cNvSpPr>
          <p:nvPr/>
        </p:nvSpPr>
        <p:spPr bwMode="auto">
          <a:xfrm>
            <a:off x="4624970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0" name="Freeform 32">
            <a:extLst>
              <a:ext uri="{FF2B5EF4-FFF2-40B4-BE49-F238E27FC236}">
                <a16:creationId xmlns:a16="http://schemas.microsoft.com/office/drawing/2014/main" id="{3D793216-01EE-0DDE-86AD-44E19DC7CF32}"/>
              </a:ext>
            </a:extLst>
          </p:cNvPr>
          <p:cNvSpPr>
            <a:spLocks/>
          </p:cNvSpPr>
          <p:nvPr/>
        </p:nvSpPr>
        <p:spPr bwMode="auto">
          <a:xfrm>
            <a:off x="2557821" y="1299114"/>
            <a:ext cx="1919497" cy="994325"/>
          </a:xfrm>
          <a:custGeom>
            <a:avLst/>
            <a:gdLst>
              <a:gd name="T0" fmla="*/ 790 w 1027"/>
              <a:gd name="T1" fmla="*/ 0 h 532"/>
              <a:gd name="T2" fmla="*/ 91 w 1027"/>
              <a:gd name="T3" fmla="*/ 0 h 532"/>
              <a:gd name="T4" fmla="*/ 0 w 1027"/>
              <a:gd name="T5" fmla="*/ 85 h 532"/>
              <a:gd name="T6" fmla="*/ 91 w 1027"/>
              <a:gd name="T7" fmla="*/ 85 h 532"/>
              <a:gd name="T8" fmla="*/ 292 w 1027"/>
              <a:gd name="T9" fmla="*/ 532 h 532"/>
              <a:gd name="T10" fmla="*/ 1027 w 1027"/>
              <a:gd name="T11" fmla="*/ 532 h 532"/>
              <a:gd name="T12" fmla="*/ 790 w 1027"/>
              <a:gd name="T13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7" h="532">
                <a:moveTo>
                  <a:pt x="790" y="0"/>
                </a:moveTo>
                <a:lnTo>
                  <a:pt x="91" y="0"/>
                </a:lnTo>
                <a:lnTo>
                  <a:pt x="0" y="85"/>
                </a:lnTo>
                <a:lnTo>
                  <a:pt x="91" y="85"/>
                </a:lnTo>
                <a:lnTo>
                  <a:pt x="292" y="532"/>
                </a:lnTo>
                <a:lnTo>
                  <a:pt x="1027" y="532"/>
                </a:lnTo>
                <a:lnTo>
                  <a:pt x="79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1" name="Freeform 33">
            <a:extLst>
              <a:ext uri="{FF2B5EF4-FFF2-40B4-BE49-F238E27FC236}">
                <a16:creationId xmlns:a16="http://schemas.microsoft.com/office/drawing/2014/main" id="{BB712024-AB34-17E6-6FE2-AD5BACE9B320}"/>
              </a:ext>
            </a:extLst>
          </p:cNvPr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2" name="Freeform 34">
            <a:extLst>
              <a:ext uri="{FF2B5EF4-FFF2-40B4-BE49-F238E27FC236}">
                <a16:creationId xmlns:a16="http://schemas.microsoft.com/office/drawing/2014/main" id="{81FC9637-2B52-5750-83E9-39DCDC343949}"/>
              </a:ext>
            </a:extLst>
          </p:cNvPr>
          <p:cNvSpPr>
            <a:spLocks/>
          </p:cNvSpPr>
          <p:nvPr/>
        </p:nvSpPr>
        <p:spPr bwMode="auto">
          <a:xfrm>
            <a:off x="3488599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3" name="Freeform 35">
            <a:extLst>
              <a:ext uri="{FF2B5EF4-FFF2-40B4-BE49-F238E27FC236}">
                <a16:creationId xmlns:a16="http://schemas.microsoft.com/office/drawing/2014/main" id="{86973CB5-6D80-A53E-278B-4C18BCE66E5C}"/>
              </a:ext>
            </a:extLst>
          </p:cNvPr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4" name="Freeform 36">
            <a:extLst>
              <a:ext uri="{FF2B5EF4-FFF2-40B4-BE49-F238E27FC236}">
                <a16:creationId xmlns:a16="http://schemas.microsoft.com/office/drawing/2014/main" id="{BE9E2FA5-DDAE-68CC-A3CD-0EC415D2106A}"/>
              </a:ext>
            </a:extLst>
          </p:cNvPr>
          <p:cNvSpPr>
            <a:spLocks/>
          </p:cNvSpPr>
          <p:nvPr/>
        </p:nvSpPr>
        <p:spPr bwMode="auto">
          <a:xfrm>
            <a:off x="3948381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5" name="Freeform 37">
            <a:extLst>
              <a:ext uri="{FF2B5EF4-FFF2-40B4-BE49-F238E27FC236}">
                <a16:creationId xmlns:a16="http://schemas.microsoft.com/office/drawing/2014/main" id="{15452AC7-0A8C-5589-2B10-C5E4966FC5CF}"/>
              </a:ext>
            </a:extLst>
          </p:cNvPr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  <a:close/>
              </a:path>
            </a:pathLst>
          </a:custGeom>
          <a:solidFill>
            <a:srgbClr val="E258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6" name="Freeform 38">
            <a:extLst>
              <a:ext uri="{FF2B5EF4-FFF2-40B4-BE49-F238E27FC236}">
                <a16:creationId xmlns:a16="http://schemas.microsoft.com/office/drawing/2014/main" id="{3DEDB0CA-BD70-49BD-F75E-8649154A368A}"/>
              </a:ext>
            </a:extLst>
          </p:cNvPr>
          <p:cNvSpPr>
            <a:spLocks/>
          </p:cNvSpPr>
          <p:nvPr/>
        </p:nvSpPr>
        <p:spPr bwMode="auto">
          <a:xfrm>
            <a:off x="2557821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7" name="Freeform 42">
            <a:extLst>
              <a:ext uri="{FF2B5EF4-FFF2-40B4-BE49-F238E27FC236}">
                <a16:creationId xmlns:a16="http://schemas.microsoft.com/office/drawing/2014/main" id="{BEFB81D6-5CF5-C496-A99C-71FECCBA08F4}"/>
              </a:ext>
            </a:extLst>
          </p:cNvPr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  <a:close/>
              </a:path>
            </a:pathLst>
          </a:custGeom>
          <a:solidFill>
            <a:srgbClr val="AFAB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8" name="Freeform 43">
            <a:extLst>
              <a:ext uri="{FF2B5EF4-FFF2-40B4-BE49-F238E27FC236}">
                <a16:creationId xmlns:a16="http://schemas.microsoft.com/office/drawing/2014/main" id="{8B6665FF-50B3-FF7B-81BA-F6B9D7DC04DE}"/>
              </a:ext>
            </a:extLst>
          </p:cNvPr>
          <p:cNvSpPr>
            <a:spLocks/>
          </p:cNvSpPr>
          <p:nvPr/>
        </p:nvSpPr>
        <p:spPr bwMode="auto">
          <a:xfrm>
            <a:off x="3017603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9" name="Freeform 44">
            <a:extLst>
              <a:ext uri="{FF2B5EF4-FFF2-40B4-BE49-F238E27FC236}">
                <a16:creationId xmlns:a16="http://schemas.microsoft.com/office/drawing/2014/main" id="{C6EE5E26-5CFA-FF18-2C1D-0A9732126925}"/>
              </a:ext>
            </a:extLst>
          </p:cNvPr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  <a:close/>
              </a:path>
            </a:pathLst>
          </a:custGeom>
          <a:solidFill>
            <a:srgbClr val="78D2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0" name="Freeform 45">
            <a:extLst>
              <a:ext uri="{FF2B5EF4-FFF2-40B4-BE49-F238E27FC236}">
                <a16:creationId xmlns:a16="http://schemas.microsoft.com/office/drawing/2014/main" id="{8C913776-48D9-27AE-E416-DF57DEBD4BFE}"/>
              </a:ext>
            </a:extLst>
          </p:cNvPr>
          <p:cNvSpPr>
            <a:spLocks/>
          </p:cNvSpPr>
          <p:nvPr/>
        </p:nvSpPr>
        <p:spPr bwMode="auto">
          <a:xfrm>
            <a:off x="3488599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1" name="Freeform 46">
            <a:extLst>
              <a:ext uri="{FF2B5EF4-FFF2-40B4-BE49-F238E27FC236}">
                <a16:creationId xmlns:a16="http://schemas.microsoft.com/office/drawing/2014/main" id="{699AABE5-F275-9E54-0F13-6F4E838A0C81}"/>
              </a:ext>
            </a:extLst>
          </p:cNvPr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  <a:close/>
              </a:path>
            </a:pathLst>
          </a:custGeom>
          <a:solidFill>
            <a:srgbClr val="3B393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2" name="Freeform 47">
            <a:extLst>
              <a:ext uri="{FF2B5EF4-FFF2-40B4-BE49-F238E27FC236}">
                <a16:creationId xmlns:a16="http://schemas.microsoft.com/office/drawing/2014/main" id="{C375A76B-D769-67C5-46D0-EC7A2CA54EA2}"/>
              </a:ext>
            </a:extLst>
          </p:cNvPr>
          <p:cNvSpPr>
            <a:spLocks/>
          </p:cNvSpPr>
          <p:nvPr/>
        </p:nvSpPr>
        <p:spPr bwMode="auto">
          <a:xfrm>
            <a:off x="3948381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3" name="Freeform 48">
            <a:extLst>
              <a:ext uri="{FF2B5EF4-FFF2-40B4-BE49-F238E27FC236}">
                <a16:creationId xmlns:a16="http://schemas.microsoft.com/office/drawing/2014/main" id="{5D0949B5-D7F6-AABD-70C6-35E59E222041}"/>
              </a:ext>
            </a:extLst>
          </p:cNvPr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4" name="Freeform 49">
            <a:extLst>
              <a:ext uri="{FF2B5EF4-FFF2-40B4-BE49-F238E27FC236}">
                <a16:creationId xmlns:a16="http://schemas.microsoft.com/office/drawing/2014/main" id="{33851364-E572-78B4-1D6F-17B52B65492D}"/>
              </a:ext>
            </a:extLst>
          </p:cNvPr>
          <p:cNvSpPr>
            <a:spLocks/>
          </p:cNvSpPr>
          <p:nvPr/>
        </p:nvSpPr>
        <p:spPr bwMode="auto">
          <a:xfrm>
            <a:off x="7280866" y="1672922"/>
            <a:ext cx="87845" cy="145785"/>
          </a:xfrm>
          <a:custGeom>
            <a:avLst/>
            <a:gdLst>
              <a:gd name="T0" fmla="*/ 47 w 47"/>
              <a:gd name="T1" fmla="*/ 0 h 78"/>
              <a:gd name="T2" fmla="*/ 0 w 47"/>
              <a:gd name="T3" fmla="*/ 78 h 78"/>
              <a:gd name="T4" fmla="*/ 1 w 47"/>
              <a:gd name="T5" fmla="*/ 78 h 78"/>
              <a:gd name="T6" fmla="*/ 47 w 47"/>
              <a:gd name="T7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78">
                <a:moveTo>
                  <a:pt x="47" y="0"/>
                </a:moveTo>
                <a:lnTo>
                  <a:pt x="0" y="78"/>
                </a:lnTo>
                <a:lnTo>
                  <a:pt x="1" y="78"/>
                </a:lnTo>
                <a:lnTo>
                  <a:pt x="4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5" name="Freeform 50">
            <a:extLst>
              <a:ext uri="{FF2B5EF4-FFF2-40B4-BE49-F238E27FC236}">
                <a16:creationId xmlns:a16="http://schemas.microsoft.com/office/drawing/2014/main" id="{EA06DBA9-9051-93D9-6646-8F8D2D179D7E}"/>
              </a:ext>
            </a:extLst>
          </p:cNvPr>
          <p:cNvSpPr>
            <a:spLocks/>
          </p:cNvSpPr>
          <p:nvPr/>
        </p:nvSpPr>
        <p:spPr bwMode="auto">
          <a:xfrm>
            <a:off x="6856594" y="1958883"/>
            <a:ext cx="338295" cy="562579"/>
          </a:xfrm>
          <a:custGeom>
            <a:avLst/>
            <a:gdLst>
              <a:gd name="T0" fmla="*/ 123 w 123"/>
              <a:gd name="T1" fmla="*/ 0 h 204"/>
              <a:gd name="T2" fmla="*/ 0 w 123"/>
              <a:gd name="T3" fmla="*/ 204 h 204"/>
              <a:gd name="T4" fmla="*/ 2 w 123"/>
              <a:gd name="T5" fmla="*/ 204 h 204"/>
              <a:gd name="T6" fmla="*/ 0 w 123"/>
              <a:gd name="T7" fmla="*/ 204 h 204"/>
              <a:gd name="T8" fmla="*/ 4 w 123"/>
              <a:gd name="T9" fmla="*/ 204 h 204"/>
              <a:gd name="T10" fmla="*/ 5 w 123"/>
              <a:gd name="T11" fmla="*/ 204 h 204"/>
              <a:gd name="T12" fmla="*/ 123 w 123"/>
              <a:gd name="T13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3" h="204">
                <a:moveTo>
                  <a:pt x="123" y="0"/>
                </a:moveTo>
                <a:cubicBezTo>
                  <a:pt x="0" y="204"/>
                  <a:pt x="0" y="204"/>
                  <a:pt x="0" y="204"/>
                </a:cubicBezTo>
                <a:cubicBezTo>
                  <a:pt x="1" y="204"/>
                  <a:pt x="1" y="204"/>
                  <a:pt x="2" y="204"/>
                </a:cubicBezTo>
                <a:cubicBezTo>
                  <a:pt x="0" y="204"/>
                  <a:pt x="0" y="204"/>
                  <a:pt x="0" y="204"/>
                </a:cubicBezTo>
                <a:cubicBezTo>
                  <a:pt x="4" y="204"/>
                  <a:pt x="4" y="204"/>
                  <a:pt x="4" y="204"/>
                </a:cubicBezTo>
                <a:cubicBezTo>
                  <a:pt x="5" y="204"/>
                  <a:pt x="5" y="204"/>
                  <a:pt x="5" y="204"/>
                </a:cubicBezTo>
                <a:cubicBezTo>
                  <a:pt x="123" y="0"/>
                  <a:pt x="123" y="0"/>
                  <a:pt x="123" y="0"/>
                </a:cubicBezTo>
              </a:path>
            </a:pathLst>
          </a:custGeom>
          <a:solidFill>
            <a:srgbClr val="FFCB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6" name="Freeform 51">
            <a:extLst>
              <a:ext uri="{FF2B5EF4-FFF2-40B4-BE49-F238E27FC236}">
                <a16:creationId xmlns:a16="http://schemas.microsoft.com/office/drawing/2014/main" id="{2245CFAE-A749-3EA8-9740-FCD938DBCD1C}"/>
              </a:ext>
            </a:extLst>
          </p:cNvPr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  <a:close/>
              </a:path>
            </a:pathLst>
          </a:custGeom>
          <a:solidFill>
            <a:srgbClr val="DF536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7" name="Freeform 52">
            <a:extLst>
              <a:ext uri="{FF2B5EF4-FFF2-40B4-BE49-F238E27FC236}">
                <a16:creationId xmlns:a16="http://schemas.microsoft.com/office/drawing/2014/main" id="{78C75140-6674-56C8-B0DA-76068A305260}"/>
              </a:ext>
            </a:extLst>
          </p:cNvPr>
          <p:cNvSpPr>
            <a:spLocks/>
          </p:cNvSpPr>
          <p:nvPr/>
        </p:nvSpPr>
        <p:spPr bwMode="auto">
          <a:xfrm>
            <a:off x="6245421" y="2915828"/>
            <a:ext cx="396235" cy="672852"/>
          </a:xfrm>
          <a:custGeom>
            <a:avLst/>
            <a:gdLst>
              <a:gd name="T0" fmla="*/ 212 w 212"/>
              <a:gd name="T1" fmla="*/ 0 h 360"/>
              <a:gd name="T2" fmla="*/ 0 w 212"/>
              <a:gd name="T3" fmla="*/ 360 h 360"/>
              <a:gd name="T4" fmla="*/ 3 w 212"/>
              <a:gd name="T5" fmla="*/ 360 h 360"/>
              <a:gd name="T6" fmla="*/ 212 w 212"/>
              <a:gd name="T7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2" h="360">
                <a:moveTo>
                  <a:pt x="212" y="0"/>
                </a:moveTo>
                <a:lnTo>
                  <a:pt x="0" y="360"/>
                </a:lnTo>
                <a:lnTo>
                  <a:pt x="3" y="360"/>
                </a:lnTo>
                <a:lnTo>
                  <a:pt x="2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8" name="Freeform 73">
            <a:extLst>
              <a:ext uri="{FF2B5EF4-FFF2-40B4-BE49-F238E27FC236}">
                <a16:creationId xmlns:a16="http://schemas.microsoft.com/office/drawing/2014/main" id="{DA454317-CBE6-9CA4-9AC2-6897A4C879D9}"/>
              </a:ext>
            </a:extLst>
          </p:cNvPr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close/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close/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9" name="Freeform 74">
            <a:extLst>
              <a:ext uri="{FF2B5EF4-FFF2-40B4-BE49-F238E27FC236}">
                <a16:creationId xmlns:a16="http://schemas.microsoft.com/office/drawing/2014/main" id="{F87A1AAE-6196-49E8-0D39-EB2391F90C5A}"/>
              </a:ext>
            </a:extLst>
          </p:cNvPr>
          <p:cNvSpPr>
            <a:spLocks noEditPoints="1"/>
          </p:cNvSpPr>
          <p:nvPr/>
        </p:nvSpPr>
        <p:spPr bwMode="auto">
          <a:xfrm>
            <a:off x="4623101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0" name="Freeform 76">
            <a:extLst>
              <a:ext uri="{FF2B5EF4-FFF2-40B4-BE49-F238E27FC236}">
                <a16:creationId xmlns:a16="http://schemas.microsoft.com/office/drawing/2014/main" id="{7C017A95-1943-39B9-FE0F-1CD5978E4B23}"/>
              </a:ext>
            </a:extLst>
          </p:cNvPr>
          <p:cNvSpPr>
            <a:spLocks/>
          </p:cNvSpPr>
          <p:nvPr/>
        </p:nvSpPr>
        <p:spPr bwMode="auto">
          <a:xfrm>
            <a:off x="4624971" y="5014751"/>
            <a:ext cx="1097122" cy="1067218"/>
          </a:xfrm>
          <a:custGeom>
            <a:avLst/>
            <a:gdLst>
              <a:gd name="T0" fmla="*/ 587 w 587"/>
              <a:gd name="T1" fmla="*/ 0 h 571"/>
              <a:gd name="T2" fmla="*/ 428 w 587"/>
              <a:gd name="T3" fmla="*/ 0 h 571"/>
              <a:gd name="T4" fmla="*/ 210 w 587"/>
              <a:gd name="T5" fmla="*/ 378 h 571"/>
              <a:gd name="T6" fmla="*/ 208 w 587"/>
              <a:gd name="T7" fmla="*/ 378 h 571"/>
              <a:gd name="T8" fmla="*/ 3 w 587"/>
              <a:gd name="T9" fmla="*/ 568 h 571"/>
              <a:gd name="T10" fmla="*/ 0 w 587"/>
              <a:gd name="T11" fmla="*/ 571 h 571"/>
              <a:gd name="T12" fmla="*/ 263 w 587"/>
              <a:gd name="T13" fmla="*/ 571 h 571"/>
              <a:gd name="T14" fmla="*/ 587 w 587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7" h="571">
                <a:moveTo>
                  <a:pt x="587" y="0"/>
                </a:moveTo>
                <a:lnTo>
                  <a:pt x="428" y="0"/>
                </a:lnTo>
                <a:lnTo>
                  <a:pt x="210" y="378"/>
                </a:lnTo>
                <a:lnTo>
                  <a:pt x="208" y="378"/>
                </a:lnTo>
                <a:lnTo>
                  <a:pt x="3" y="568"/>
                </a:lnTo>
                <a:lnTo>
                  <a:pt x="0" y="571"/>
                </a:lnTo>
                <a:lnTo>
                  <a:pt x="263" y="571"/>
                </a:lnTo>
                <a:lnTo>
                  <a:pt x="58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1" name="Freeform 78">
            <a:extLst>
              <a:ext uri="{FF2B5EF4-FFF2-40B4-BE49-F238E27FC236}">
                <a16:creationId xmlns:a16="http://schemas.microsoft.com/office/drawing/2014/main" id="{E0C75C2B-3A3A-C583-F5F8-69233E83FDAB}"/>
              </a:ext>
            </a:extLst>
          </p:cNvPr>
          <p:cNvSpPr>
            <a:spLocks/>
          </p:cNvSpPr>
          <p:nvPr/>
        </p:nvSpPr>
        <p:spPr bwMode="auto">
          <a:xfrm>
            <a:off x="5424917" y="3949403"/>
            <a:ext cx="902743" cy="1065348"/>
          </a:xfrm>
          <a:custGeom>
            <a:avLst/>
            <a:gdLst>
              <a:gd name="T0" fmla="*/ 483 w 483"/>
              <a:gd name="T1" fmla="*/ 0 h 570"/>
              <a:gd name="T2" fmla="*/ 331 w 483"/>
              <a:gd name="T3" fmla="*/ 0 h 570"/>
              <a:gd name="T4" fmla="*/ 112 w 483"/>
              <a:gd name="T5" fmla="*/ 377 h 570"/>
              <a:gd name="T6" fmla="*/ 112 w 483"/>
              <a:gd name="T7" fmla="*/ 377 h 570"/>
              <a:gd name="T8" fmla="*/ 0 w 483"/>
              <a:gd name="T9" fmla="*/ 570 h 570"/>
              <a:gd name="T10" fmla="*/ 159 w 483"/>
              <a:gd name="T11" fmla="*/ 570 h 570"/>
              <a:gd name="T12" fmla="*/ 483 w 483"/>
              <a:gd name="T13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3" h="570">
                <a:moveTo>
                  <a:pt x="483" y="0"/>
                </a:moveTo>
                <a:lnTo>
                  <a:pt x="331" y="0"/>
                </a:lnTo>
                <a:lnTo>
                  <a:pt x="112" y="377"/>
                </a:lnTo>
                <a:lnTo>
                  <a:pt x="112" y="377"/>
                </a:lnTo>
                <a:lnTo>
                  <a:pt x="0" y="570"/>
                </a:lnTo>
                <a:lnTo>
                  <a:pt x="159" y="570"/>
                </a:lnTo>
                <a:lnTo>
                  <a:pt x="48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2" name="Freeform 85">
            <a:extLst>
              <a:ext uri="{FF2B5EF4-FFF2-40B4-BE49-F238E27FC236}">
                <a16:creationId xmlns:a16="http://schemas.microsoft.com/office/drawing/2014/main" id="{E02046AE-A2D8-6E0F-0E67-C7B71189F290}"/>
              </a:ext>
            </a:extLst>
          </p:cNvPr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  <a:close/>
              </a:path>
            </a:pathLst>
          </a:custGeom>
          <a:solidFill>
            <a:srgbClr val="AC24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3" name="Freeform 86">
            <a:extLst>
              <a:ext uri="{FF2B5EF4-FFF2-40B4-BE49-F238E27FC236}">
                <a16:creationId xmlns:a16="http://schemas.microsoft.com/office/drawing/2014/main" id="{BA07C3B5-1388-0F0C-40D6-71FDC83A75C3}"/>
              </a:ext>
            </a:extLst>
          </p:cNvPr>
          <p:cNvSpPr>
            <a:spLocks/>
          </p:cNvSpPr>
          <p:nvPr/>
        </p:nvSpPr>
        <p:spPr bwMode="auto">
          <a:xfrm>
            <a:off x="6641656" y="2521461"/>
            <a:ext cx="231760" cy="390628"/>
          </a:xfrm>
          <a:custGeom>
            <a:avLst/>
            <a:gdLst>
              <a:gd name="T0" fmla="*/ 124 w 124"/>
              <a:gd name="T1" fmla="*/ 0 h 209"/>
              <a:gd name="T2" fmla="*/ 121 w 124"/>
              <a:gd name="T3" fmla="*/ 0 h 209"/>
              <a:gd name="T4" fmla="*/ 0 w 124"/>
              <a:gd name="T5" fmla="*/ 209 h 209"/>
              <a:gd name="T6" fmla="*/ 9 w 124"/>
              <a:gd name="T7" fmla="*/ 195 h 209"/>
              <a:gd name="T8" fmla="*/ 9 w 124"/>
              <a:gd name="T9" fmla="*/ 195 h 209"/>
              <a:gd name="T10" fmla="*/ 9 w 124"/>
              <a:gd name="T11" fmla="*/ 195 h 209"/>
              <a:gd name="T12" fmla="*/ 28 w 124"/>
              <a:gd name="T13" fmla="*/ 161 h 209"/>
              <a:gd name="T14" fmla="*/ 124 w 124"/>
              <a:gd name="T15" fmla="*/ 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4" h="209">
                <a:moveTo>
                  <a:pt x="124" y="0"/>
                </a:moveTo>
                <a:lnTo>
                  <a:pt x="121" y="0"/>
                </a:lnTo>
                <a:lnTo>
                  <a:pt x="0" y="209"/>
                </a:lnTo>
                <a:lnTo>
                  <a:pt x="9" y="195"/>
                </a:lnTo>
                <a:lnTo>
                  <a:pt x="9" y="195"/>
                </a:lnTo>
                <a:lnTo>
                  <a:pt x="9" y="195"/>
                </a:lnTo>
                <a:lnTo>
                  <a:pt x="28" y="161"/>
                </a:lnTo>
                <a:lnTo>
                  <a:pt x="1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4" name="Freeform 87">
            <a:extLst>
              <a:ext uri="{FF2B5EF4-FFF2-40B4-BE49-F238E27FC236}">
                <a16:creationId xmlns:a16="http://schemas.microsoft.com/office/drawing/2014/main" id="{A4D2E578-E6E8-58BC-E8DB-D585CA09B7EA}"/>
              </a:ext>
            </a:extLst>
          </p:cNvPr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  <a:close/>
              </a:path>
            </a:pathLst>
          </a:custGeom>
          <a:solidFill>
            <a:srgbClr val="228C8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5" name="Freeform 88">
            <a:extLst>
              <a:ext uri="{FF2B5EF4-FFF2-40B4-BE49-F238E27FC236}">
                <a16:creationId xmlns:a16="http://schemas.microsoft.com/office/drawing/2014/main" id="{952361E6-AB2D-2C2F-D4AC-4AB374DCE021}"/>
              </a:ext>
            </a:extLst>
          </p:cNvPr>
          <p:cNvSpPr>
            <a:spLocks/>
          </p:cNvSpPr>
          <p:nvPr/>
        </p:nvSpPr>
        <p:spPr bwMode="auto">
          <a:xfrm>
            <a:off x="5630509" y="3588680"/>
            <a:ext cx="622388" cy="1065348"/>
          </a:xfrm>
          <a:custGeom>
            <a:avLst/>
            <a:gdLst>
              <a:gd name="T0" fmla="*/ 333 w 333"/>
              <a:gd name="T1" fmla="*/ 0 h 570"/>
              <a:gd name="T2" fmla="*/ 332 w 333"/>
              <a:gd name="T3" fmla="*/ 0 h 570"/>
              <a:gd name="T4" fmla="*/ 0 w 333"/>
              <a:gd name="T5" fmla="*/ 570 h 570"/>
              <a:gd name="T6" fmla="*/ 2 w 333"/>
              <a:gd name="T7" fmla="*/ 570 h 570"/>
              <a:gd name="T8" fmla="*/ 221 w 333"/>
              <a:gd name="T9" fmla="*/ 193 h 570"/>
              <a:gd name="T10" fmla="*/ 221 w 333"/>
              <a:gd name="T11" fmla="*/ 193 h 570"/>
              <a:gd name="T12" fmla="*/ 221 w 333"/>
              <a:gd name="T13" fmla="*/ 193 h 570"/>
              <a:gd name="T14" fmla="*/ 227 w 333"/>
              <a:gd name="T15" fmla="*/ 183 h 570"/>
              <a:gd name="T16" fmla="*/ 333 w 333"/>
              <a:gd name="T17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570">
                <a:moveTo>
                  <a:pt x="333" y="0"/>
                </a:moveTo>
                <a:lnTo>
                  <a:pt x="332" y="0"/>
                </a:lnTo>
                <a:lnTo>
                  <a:pt x="0" y="570"/>
                </a:lnTo>
                <a:lnTo>
                  <a:pt x="2" y="570"/>
                </a:lnTo>
                <a:lnTo>
                  <a:pt x="221" y="193"/>
                </a:lnTo>
                <a:lnTo>
                  <a:pt x="221" y="193"/>
                </a:lnTo>
                <a:lnTo>
                  <a:pt x="221" y="193"/>
                </a:lnTo>
                <a:lnTo>
                  <a:pt x="227" y="183"/>
                </a:lnTo>
                <a:lnTo>
                  <a:pt x="33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6" name="Freeform 89">
            <a:extLst>
              <a:ext uri="{FF2B5EF4-FFF2-40B4-BE49-F238E27FC236}">
                <a16:creationId xmlns:a16="http://schemas.microsoft.com/office/drawing/2014/main" id="{7FDE48D2-5D5C-2CC9-DE55-D2A413D49A55}"/>
              </a:ext>
            </a:extLst>
          </p:cNvPr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  <a:close/>
              </a:path>
            </a:pathLst>
          </a:custGeom>
          <a:solidFill>
            <a:srgbClr val="246E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7" name="Freeform 90">
            <a:extLst>
              <a:ext uri="{FF2B5EF4-FFF2-40B4-BE49-F238E27FC236}">
                <a16:creationId xmlns:a16="http://schemas.microsoft.com/office/drawing/2014/main" id="{ECFF67B3-20B0-E084-C324-4E21D505005B}"/>
              </a:ext>
            </a:extLst>
          </p:cNvPr>
          <p:cNvSpPr>
            <a:spLocks/>
          </p:cNvSpPr>
          <p:nvPr/>
        </p:nvSpPr>
        <p:spPr bwMode="auto">
          <a:xfrm>
            <a:off x="5013729" y="4654029"/>
            <a:ext cx="620519" cy="1067218"/>
          </a:xfrm>
          <a:custGeom>
            <a:avLst/>
            <a:gdLst>
              <a:gd name="T0" fmla="*/ 332 w 332"/>
              <a:gd name="T1" fmla="*/ 0 h 571"/>
              <a:gd name="T2" fmla="*/ 332 w 332"/>
              <a:gd name="T3" fmla="*/ 0 h 571"/>
              <a:gd name="T4" fmla="*/ 330 w 332"/>
              <a:gd name="T5" fmla="*/ 0 h 571"/>
              <a:gd name="T6" fmla="*/ 0 w 332"/>
              <a:gd name="T7" fmla="*/ 571 h 571"/>
              <a:gd name="T8" fmla="*/ 2 w 332"/>
              <a:gd name="T9" fmla="*/ 571 h 571"/>
              <a:gd name="T10" fmla="*/ 220 w 332"/>
              <a:gd name="T11" fmla="*/ 193 h 571"/>
              <a:gd name="T12" fmla="*/ 220 w 332"/>
              <a:gd name="T13" fmla="*/ 193 h 571"/>
              <a:gd name="T14" fmla="*/ 332 w 332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32" h="571">
                <a:moveTo>
                  <a:pt x="332" y="0"/>
                </a:moveTo>
                <a:lnTo>
                  <a:pt x="332" y="0"/>
                </a:lnTo>
                <a:lnTo>
                  <a:pt x="330" y="0"/>
                </a:lnTo>
                <a:lnTo>
                  <a:pt x="0" y="571"/>
                </a:lnTo>
                <a:lnTo>
                  <a:pt x="2" y="571"/>
                </a:lnTo>
                <a:lnTo>
                  <a:pt x="220" y="193"/>
                </a:lnTo>
                <a:lnTo>
                  <a:pt x="220" y="193"/>
                </a:lnTo>
                <a:lnTo>
                  <a:pt x="33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8" name="Freeform 91">
            <a:extLst>
              <a:ext uri="{FF2B5EF4-FFF2-40B4-BE49-F238E27FC236}">
                <a16:creationId xmlns:a16="http://schemas.microsoft.com/office/drawing/2014/main" id="{2FD57CA0-3B8A-09A4-1DCE-14429FCBD104}"/>
              </a:ext>
            </a:extLst>
          </p:cNvPr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9" name="Freeform 92">
            <a:extLst>
              <a:ext uri="{FF2B5EF4-FFF2-40B4-BE49-F238E27FC236}">
                <a16:creationId xmlns:a16="http://schemas.microsoft.com/office/drawing/2014/main" id="{487DCE3E-0D68-AF80-CAE7-9C61DBE107E6}"/>
              </a:ext>
            </a:extLst>
          </p:cNvPr>
          <p:cNvSpPr>
            <a:spLocks/>
          </p:cNvSpPr>
          <p:nvPr/>
        </p:nvSpPr>
        <p:spPr bwMode="auto">
          <a:xfrm>
            <a:off x="6869678" y="1818705"/>
            <a:ext cx="413057" cy="702756"/>
          </a:xfrm>
          <a:custGeom>
            <a:avLst/>
            <a:gdLst>
              <a:gd name="T0" fmla="*/ 221 w 221"/>
              <a:gd name="T1" fmla="*/ 0 h 376"/>
              <a:gd name="T2" fmla="*/ 220 w 221"/>
              <a:gd name="T3" fmla="*/ 0 h 376"/>
              <a:gd name="T4" fmla="*/ 174 w 221"/>
              <a:gd name="T5" fmla="*/ 75 h 376"/>
              <a:gd name="T6" fmla="*/ 0 w 221"/>
              <a:gd name="T7" fmla="*/ 376 h 376"/>
              <a:gd name="T8" fmla="*/ 221 w 221"/>
              <a:gd name="T9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1" h="376">
                <a:moveTo>
                  <a:pt x="221" y="0"/>
                </a:moveTo>
                <a:lnTo>
                  <a:pt x="220" y="0"/>
                </a:lnTo>
                <a:lnTo>
                  <a:pt x="174" y="75"/>
                </a:lnTo>
                <a:lnTo>
                  <a:pt x="0" y="376"/>
                </a:lnTo>
                <a:lnTo>
                  <a:pt x="2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0" name="Freeform 93">
            <a:extLst>
              <a:ext uri="{FF2B5EF4-FFF2-40B4-BE49-F238E27FC236}">
                <a16:creationId xmlns:a16="http://schemas.microsoft.com/office/drawing/2014/main" id="{F048CD80-AAA5-0E3E-0BD3-0111BEA01D30}"/>
              </a:ext>
            </a:extLst>
          </p:cNvPr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  <a:close/>
              </a:path>
            </a:pathLst>
          </a:custGeom>
          <a:solidFill>
            <a:srgbClr val="D1A8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1" name="Freeform 94">
            <a:extLst>
              <a:ext uri="{FF2B5EF4-FFF2-40B4-BE49-F238E27FC236}">
                <a16:creationId xmlns:a16="http://schemas.microsoft.com/office/drawing/2014/main" id="{A9E0D749-A1D6-7AE8-D81C-21F4E23D53D2}"/>
              </a:ext>
            </a:extLst>
          </p:cNvPr>
          <p:cNvSpPr>
            <a:spLocks/>
          </p:cNvSpPr>
          <p:nvPr/>
        </p:nvSpPr>
        <p:spPr bwMode="auto">
          <a:xfrm>
            <a:off x="7194891" y="1818706"/>
            <a:ext cx="85975" cy="140178"/>
          </a:xfrm>
          <a:custGeom>
            <a:avLst/>
            <a:gdLst>
              <a:gd name="T0" fmla="*/ 46 w 46"/>
              <a:gd name="T1" fmla="*/ 0 h 75"/>
              <a:gd name="T2" fmla="*/ 44 w 46"/>
              <a:gd name="T3" fmla="*/ 0 h 75"/>
              <a:gd name="T4" fmla="*/ 0 w 46"/>
              <a:gd name="T5" fmla="*/ 75 h 75"/>
              <a:gd name="T6" fmla="*/ 46 w 46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5">
                <a:moveTo>
                  <a:pt x="46" y="0"/>
                </a:moveTo>
                <a:lnTo>
                  <a:pt x="44" y="0"/>
                </a:lnTo>
                <a:lnTo>
                  <a:pt x="0" y="75"/>
                </a:lnTo>
                <a:lnTo>
                  <a:pt x="4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2" name="Freeform 95">
            <a:extLst>
              <a:ext uri="{FF2B5EF4-FFF2-40B4-BE49-F238E27FC236}">
                <a16:creationId xmlns:a16="http://schemas.microsoft.com/office/drawing/2014/main" id="{C5B0FE7A-64A2-3579-3565-D7EC2F01E444}"/>
              </a:ext>
            </a:extLst>
          </p:cNvPr>
          <p:cNvSpPr>
            <a:spLocks/>
          </p:cNvSpPr>
          <p:nvPr/>
        </p:nvSpPr>
        <p:spPr bwMode="auto">
          <a:xfrm>
            <a:off x="4624971" y="5721245"/>
            <a:ext cx="392497" cy="360724"/>
          </a:xfrm>
          <a:custGeom>
            <a:avLst/>
            <a:gdLst>
              <a:gd name="T0" fmla="*/ 210 w 210"/>
              <a:gd name="T1" fmla="*/ 0 h 193"/>
              <a:gd name="T2" fmla="*/ 0 w 210"/>
              <a:gd name="T3" fmla="*/ 193 h 193"/>
              <a:gd name="T4" fmla="*/ 112 w 210"/>
              <a:gd name="T5" fmla="*/ 0 h 193"/>
              <a:gd name="T6" fmla="*/ 210 w 210"/>
              <a:gd name="T7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0" h="193">
                <a:moveTo>
                  <a:pt x="210" y="0"/>
                </a:moveTo>
                <a:lnTo>
                  <a:pt x="0" y="193"/>
                </a:lnTo>
                <a:lnTo>
                  <a:pt x="112" y="0"/>
                </a:lnTo>
                <a:lnTo>
                  <a:pt x="21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3" name="Rectangle 96">
            <a:extLst>
              <a:ext uri="{FF2B5EF4-FFF2-40B4-BE49-F238E27FC236}">
                <a16:creationId xmlns:a16="http://schemas.microsoft.com/office/drawing/2014/main" id="{84765660-1ADF-056D-D2CE-B1CBDAE4A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4126" y="6081968"/>
            <a:ext cx="927040" cy="1870"/>
          </a:xfrm>
          <a:prstGeom prst="rect">
            <a:avLst/>
          </a:pr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4" name="Freeform 97">
            <a:extLst>
              <a:ext uri="{FF2B5EF4-FFF2-40B4-BE49-F238E27FC236}">
                <a16:creationId xmlns:a16="http://schemas.microsoft.com/office/drawing/2014/main" id="{6AE64AA5-32EF-89C7-AAF6-BB0688D2CC81}"/>
              </a:ext>
            </a:extLst>
          </p:cNvPr>
          <p:cNvSpPr>
            <a:spLocks/>
          </p:cNvSpPr>
          <p:nvPr/>
        </p:nvSpPr>
        <p:spPr bwMode="auto">
          <a:xfrm>
            <a:off x="8804126" y="6081968"/>
            <a:ext cx="927040" cy="0"/>
          </a:xfrm>
          <a:custGeom>
            <a:avLst/>
            <a:gdLst>
              <a:gd name="T0" fmla="*/ 496 w 496"/>
              <a:gd name="T1" fmla="*/ 0 w 496"/>
              <a:gd name="T2" fmla="*/ 0 w 496"/>
              <a:gd name="T3" fmla="*/ 496 w 49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496">
                <a:moveTo>
                  <a:pt x="496" y="0"/>
                </a:moveTo>
                <a:lnTo>
                  <a:pt x="0" y="0"/>
                </a:lnTo>
                <a:lnTo>
                  <a:pt x="0" y="0"/>
                </a:lnTo>
                <a:lnTo>
                  <a:pt x="49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5" name="Oval 107">
            <a:extLst>
              <a:ext uri="{FF2B5EF4-FFF2-40B4-BE49-F238E27FC236}">
                <a16:creationId xmlns:a16="http://schemas.microsoft.com/office/drawing/2014/main" id="{7577A4D1-03EC-8626-2B0E-B8D81F705C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0362" y="5014751"/>
            <a:ext cx="1065348" cy="1067218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6" name="Oval 108">
            <a:extLst>
              <a:ext uri="{FF2B5EF4-FFF2-40B4-BE49-F238E27FC236}">
                <a16:creationId xmlns:a16="http://schemas.microsoft.com/office/drawing/2014/main" id="{9306A257-EF19-2138-9140-3B4C84D9F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0362" y="1818706"/>
            <a:ext cx="1065348" cy="1067218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7" name="Oval 109">
            <a:extLst>
              <a:ext uri="{FF2B5EF4-FFF2-40B4-BE49-F238E27FC236}">
                <a16:creationId xmlns:a16="http://schemas.microsoft.com/office/drawing/2014/main" id="{FA276E26-B225-F135-328B-B0AE6DBD5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0362" y="2885923"/>
            <a:ext cx="1065348" cy="1063480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8" name="Oval 110">
            <a:extLst>
              <a:ext uri="{FF2B5EF4-FFF2-40B4-BE49-F238E27FC236}">
                <a16:creationId xmlns:a16="http://schemas.microsoft.com/office/drawing/2014/main" id="{10F445A0-CD63-C17E-9839-A23B1FBCA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0362" y="3949403"/>
            <a:ext cx="1065348" cy="1065348"/>
          </a:xfrm>
          <a:prstGeom prst="ellipse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9" name="Oval 108">
            <a:extLst>
              <a:ext uri="{FF2B5EF4-FFF2-40B4-BE49-F238E27FC236}">
                <a16:creationId xmlns:a16="http://schemas.microsoft.com/office/drawing/2014/main" id="{CC9F3B7B-EADE-0128-CFE6-0038C63E4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2071" y="1906551"/>
            <a:ext cx="889963" cy="891527"/>
          </a:xfrm>
          <a:prstGeom prst="ellipse">
            <a:avLst/>
          </a:prstGeom>
          <a:solidFill>
            <a:sysClr val="window" lastClr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50" name="Oval 108">
            <a:extLst>
              <a:ext uri="{FF2B5EF4-FFF2-40B4-BE49-F238E27FC236}">
                <a16:creationId xmlns:a16="http://schemas.microsoft.com/office/drawing/2014/main" id="{16C084D6-3A8A-A810-B5CE-D510B1F5C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8054" y="2973769"/>
            <a:ext cx="889963" cy="891527"/>
          </a:xfrm>
          <a:prstGeom prst="ellipse">
            <a:avLst/>
          </a:prstGeom>
          <a:solidFill>
            <a:sysClr val="window" lastClr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51" name="Oval 108">
            <a:extLst>
              <a:ext uri="{FF2B5EF4-FFF2-40B4-BE49-F238E27FC236}">
                <a16:creationId xmlns:a16="http://schemas.microsoft.com/office/drawing/2014/main" id="{3B4454F2-4D85-D3F1-1D8F-03ECE6541B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2071" y="4021027"/>
            <a:ext cx="889963" cy="891527"/>
          </a:xfrm>
          <a:prstGeom prst="ellipse">
            <a:avLst/>
          </a:prstGeom>
          <a:solidFill>
            <a:sysClr val="window" lastClr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52" name="Oval 108">
            <a:extLst>
              <a:ext uri="{FF2B5EF4-FFF2-40B4-BE49-F238E27FC236}">
                <a16:creationId xmlns:a16="http://schemas.microsoft.com/office/drawing/2014/main" id="{A125771F-23A3-402F-9091-E5765BA18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8054" y="5096055"/>
            <a:ext cx="889963" cy="891527"/>
          </a:xfrm>
          <a:prstGeom prst="ellipse">
            <a:avLst/>
          </a:prstGeom>
          <a:solidFill>
            <a:sysClr val="window" lastClr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39DACD7-6865-E984-EBAA-041EB66A7F0D}"/>
              </a:ext>
            </a:extLst>
          </p:cNvPr>
          <p:cNvSpPr/>
          <p:nvPr/>
        </p:nvSpPr>
        <p:spPr>
          <a:xfrm>
            <a:off x="1442648" y="2161517"/>
            <a:ext cx="1163767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 Light"/>
              </a:rPr>
              <a:t>Market Penetration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0C45FC13-08AA-AD08-E3DD-E5EDC3D0B945}"/>
              </a:ext>
            </a:extLst>
          </p:cNvPr>
          <p:cNvSpPr/>
          <p:nvPr/>
        </p:nvSpPr>
        <p:spPr>
          <a:xfrm>
            <a:off x="1442648" y="3318075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 Light"/>
              </a:rPr>
              <a:t>Engagement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2CC03242-80A1-FFBB-A913-190974AE6B82}"/>
              </a:ext>
            </a:extLst>
          </p:cNvPr>
          <p:cNvSpPr/>
          <p:nvPr/>
        </p:nvSpPr>
        <p:spPr>
          <a:xfrm>
            <a:off x="1442648" y="4397442"/>
            <a:ext cx="116376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 Light"/>
              </a:rPr>
              <a:t>Growth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3F2A5F23-4ED7-2DB4-8330-E3079EEAC51D}"/>
              </a:ext>
            </a:extLst>
          </p:cNvPr>
          <p:cNvSpPr/>
          <p:nvPr/>
        </p:nvSpPr>
        <p:spPr>
          <a:xfrm>
            <a:off x="1442648" y="5384476"/>
            <a:ext cx="1163767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 Light"/>
              </a:rPr>
              <a:t>Customer Satisfaction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71CD9CCE-9601-BDA0-D7E2-019FD53F04EC}"/>
              </a:ext>
            </a:extLst>
          </p:cNvPr>
          <p:cNvGrpSpPr/>
          <p:nvPr/>
        </p:nvGrpSpPr>
        <p:grpSpPr>
          <a:xfrm>
            <a:off x="9563888" y="3272813"/>
            <a:ext cx="338295" cy="293439"/>
            <a:chOff x="3171825" y="1955800"/>
            <a:chExt cx="287338" cy="249238"/>
          </a:xfrm>
          <a:solidFill>
            <a:srgbClr val="AFABAB"/>
          </a:solidFill>
        </p:grpSpPr>
        <p:sp>
          <p:nvSpPr>
            <p:cNvPr id="164" name="Freeform 75">
              <a:extLst>
                <a:ext uri="{FF2B5EF4-FFF2-40B4-BE49-F238E27FC236}">
                  <a16:creationId xmlns:a16="http://schemas.microsoft.com/office/drawing/2014/main" id="{D4B9ADAA-5EE3-DEE2-5B0C-E6F559F81E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955800"/>
              <a:ext cx="258763" cy="173038"/>
            </a:xfrm>
            <a:custGeom>
              <a:avLst/>
              <a:gdLst>
                <a:gd name="T0" fmla="*/ 54 w 813"/>
                <a:gd name="T1" fmla="*/ 30 h 542"/>
                <a:gd name="T2" fmla="*/ 60 w 813"/>
                <a:gd name="T3" fmla="*/ 30 h 542"/>
                <a:gd name="T4" fmla="*/ 756 w 813"/>
                <a:gd name="T5" fmla="*/ 30 h 542"/>
                <a:gd name="T6" fmla="*/ 413 w 813"/>
                <a:gd name="T7" fmla="*/ 311 h 542"/>
                <a:gd name="T8" fmla="*/ 782 w 813"/>
                <a:gd name="T9" fmla="*/ 240 h 542"/>
                <a:gd name="T10" fmla="*/ 784 w 813"/>
                <a:gd name="T11" fmla="*/ 246 h 542"/>
                <a:gd name="T12" fmla="*/ 787 w 813"/>
                <a:gd name="T13" fmla="*/ 251 h 542"/>
                <a:gd name="T14" fmla="*/ 791 w 813"/>
                <a:gd name="T15" fmla="*/ 254 h 542"/>
                <a:gd name="T16" fmla="*/ 798 w 813"/>
                <a:gd name="T17" fmla="*/ 255 h 542"/>
                <a:gd name="T18" fmla="*/ 803 w 813"/>
                <a:gd name="T19" fmla="*/ 254 h 542"/>
                <a:gd name="T20" fmla="*/ 807 w 813"/>
                <a:gd name="T21" fmla="*/ 251 h 542"/>
                <a:gd name="T22" fmla="*/ 811 w 813"/>
                <a:gd name="T23" fmla="*/ 247 h 542"/>
                <a:gd name="T24" fmla="*/ 813 w 813"/>
                <a:gd name="T25" fmla="*/ 240 h 542"/>
                <a:gd name="T26" fmla="*/ 812 w 813"/>
                <a:gd name="T27" fmla="*/ 67 h 542"/>
                <a:gd name="T28" fmla="*/ 810 w 813"/>
                <a:gd name="T29" fmla="*/ 52 h 542"/>
                <a:gd name="T30" fmla="*/ 805 w 813"/>
                <a:gd name="T31" fmla="*/ 38 h 542"/>
                <a:gd name="T32" fmla="*/ 800 w 813"/>
                <a:gd name="T33" fmla="*/ 26 h 542"/>
                <a:gd name="T34" fmla="*/ 791 w 813"/>
                <a:gd name="T35" fmla="*/ 16 h 542"/>
                <a:gd name="T36" fmla="*/ 782 w 813"/>
                <a:gd name="T37" fmla="*/ 8 h 542"/>
                <a:gd name="T38" fmla="*/ 771 w 813"/>
                <a:gd name="T39" fmla="*/ 2 h 542"/>
                <a:gd name="T40" fmla="*/ 759 w 813"/>
                <a:gd name="T41" fmla="*/ 0 h 542"/>
                <a:gd name="T42" fmla="*/ 60 w 813"/>
                <a:gd name="T43" fmla="*/ 0 h 542"/>
                <a:gd name="T44" fmla="*/ 47 w 813"/>
                <a:gd name="T45" fmla="*/ 1 h 542"/>
                <a:gd name="T46" fmla="*/ 35 w 813"/>
                <a:gd name="T47" fmla="*/ 6 h 542"/>
                <a:gd name="T48" fmla="*/ 25 w 813"/>
                <a:gd name="T49" fmla="*/ 12 h 542"/>
                <a:gd name="T50" fmla="*/ 16 w 813"/>
                <a:gd name="T51" fmla="*/ 21 h 542"/>
                <a:gd name="T52" fmla="*/ 10 w 813"/>
                <a:gd name="T53" fmla="*/ 31 h 542"/>
                <a:gd name="T54" fmla="*/ 4 w 813"/>
                <a:gd name="T55" fmla="*/ 44 h 542"/>
                <a:gd name="T56" fmla="*/ 1 w 813"/>
                <a:gd name="T57" fmla="*/ 59 h 542"/>
                <a:gd name="T58" fmla="*/ 0 w 813"/>
                <a:gd name="T59" fmla="*/ 75 h 542"/>
                <a:gd name="T60" fmla="*/ 0 w 813"/>
                <a:gd name="T61" fmla="*/ 474 h 542"/>
                <a:gd name="T62" fmla="*/ 2 w 813"/>
                <a:gd name="T63" fmla="*/ 490 h 542"/>
                <a:gd name="T64" fmla="*/ 6 w 813"/>
                <a:gd name="T65" fmla="*/ 503 h 542"/>
                <a:gd name="T66" fmla="*/ 13 w 813"/>
                <a:gd name="T67" fmla="*/ 516 h 542"/>
                <a:gd name="T68" fmla="*/ 20 w 813"/>
                <a:gd name="T69" fmla="*/ 526 h 542"/>
                <a:gd name="T70" fmla="*/ 30 w 813"/>
                <a:gd name="T71" fmla="*/ 533 h 542"/>
                <a:gd name="T72" fmla="*/ 41 w 813"/>
                <a:gd name="T73" fmla="*/ 538 h 542"/>
                <a:gd name="T74" fmla="*/ 54 w 813"/>
                <a:gd name="T75" fmla="*/ 541 h 542"/>
                <a:gd name="T76" fmla="*/ 376 w 813"/>
                <a:gd name="T77" fmla="*/ 542 h 542"/>
                <a:gd name="T78" fmla="*/ 382 w 813"/>
                <a:gd name="T79" fmla="*/ 541 h 542"/>
                <a:gd name="T80" fmla="*/ 387 w 813"/>
                <a:gd name="T81" fmla="*/ 537 h 542"/>
                <a:gd name="T82" fmla="*/ 390 w 813"/>
                <a:gd name="T83" fmla="*/ 532 h 542"/>
                <a:gd name="T84" fmla="*/ 391 w 813"/>
                <a:gd name="T85" fmla="*/ 527 h 542"/>
                <a:gd name="T86" fmla="*/ 390 w 813"/>
                <a:gd name="T87" fmla="*/ 520 h 542"/>
                <a:gd name="T88" fmla="*/ 387 w 813"/>
                <a:gd name="T89" fmla="*/ 516 h 542"/>
                <a:gd name="T90" fmla="*/ 382 w 813"/>
                <a:gd name="T91" fmla="*/ 513 h 542"/>
                <a:gd name="T92" fmla="*/ 376 w 813"/>
                <a:gd name="T93" fmla="*/ 512 h 542"/>
                <a:gd name="T94" fmla="*/ 55 w 813"/>
                <a:gd name="T95" fmla="*/ 511 h 542"/>
                <a:gd name="T96" fmla="*/ 47 w 813"/>
                <a:gd name="T97" fmla="*/ 508 h 542"/>
                <a:gd name="T98" fmla="*/ 39 w 813"/>
                <a:gd name="T99" fmla="*/ 500 h 542"/>
                <a:gd name="T100" fmla="*/ 32 w 813"/>
                <a:gd name="T101" fmla="*/ 485 h 542"/>
                <a:gd name="T102" fmla="*/ 30 w 813"/>
                <a:gd name="T103" fmla="*/ 471 h 542"/>
                <a:gd name="T104" fmla="*/ 30 w 813"/>
                <a:gd name="T105" fmla="*/ 75 h 542"/>
                <a:gd name="T106" fmla="*/ 33 w 813"/>
                <a:gd name="T107" fmla="*/ 53 h 542"/>
                <a:gd name="T108" fmla="*/ 409 w 813"/>
                <a:gd name="T109" fmla="*/ 345 h 542"/>
                <a:gd name="T110" fmla="*/ 418 w 813"/>
                <a:gd name="T111" fmla="*/ 344 h 542"/>
                <a:gd name="T112" fmla="*/ 780 w 813"/>
                <a:gd name="T113" fmla="*/ 53 h 542"/>
                <a:gd name="T114" fmla="*/ 782 w 813"/>
                <a:gd name="T115" fmla="*/ 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3" h="542">
                  <a:moveTo>
                    <a:pt x="413" y="311"/>
                  </a:moveTo>
                  <a:lnTo>
                    <a:pt x="54" y="30"/>
                  </a:lnTo>
                  <a:lnTo>
                    <a:pt x="57" y="30"/>
                  </a:lnTo>
                  <a:lnTo>
                    <a:pt x="60" y="30"/>
                  </a:lnTo>
                  <a:lnTo>
                    <a:pt x="752" y="30"/>
                  </a:lnTo>
                  <a:lnTo>
                    <a:pt x="756" y="30"/>
                  </a:lnTo>
                  <a:lnTo>
                    <a:pt x="759" y="31"/>
                  </a:lnTo>
                  <a:lnTo>
                    <a:pt x="413" y="311"/>
                  </a:lnTo>
                  <a:close/>
                  <a:moveTo>
                    <a:pt x="782" y="75"/>
                  </a:moveTo>
                  <a:lnTo>
                    <a:pt x="782" y="240"/>
                  </a:lnTo>
                  <a:lnTo>
                    <a:pt x="783" y="244"/>
                  </a:lnTo>
                  <a:lnTo>
                    <a:pt x="784" y="246"/>
                  </a:lnTo>
                  <a:lnTo>
                    <a:pt x="785" y="249"/>
                  </a:lnTo>
                  <a:lnTo>
                    <a:pt x="787" y="251"/>
                  </a:lnTo>
                  <a:lnTo>
                    <a:pt x="789" y="253"/>
                  </a:lnTo>
                  <a:lnTo>
                    <a:pt x="791" y="254"/>
                  </a:lnTo>
                  <a:lnTo>
                    <a:pt x="795" y="255"/>
                  </a:lnTo>
                  <a:lnTo>
                    <a:pt x="798" y="255"/>
                  </a:lnTo>
                  <a:lnTo>
                    <a:pt x="800" y="255"/>
                  </a:lnTo>
                  <a:lnTo>
                    <a:pt x="803" y="254"/>
                  </a:lnTo>
                  <a:lnTo>
                    <a:pt x="805" y="253"/>
                  </a:lnTo>
                  <a:lnTo>
                    <a:pt x="807" y="251"/>
                  </a:lnTo>
                  <a:lnTo>
                    <a:pt x="810" y="249"/>
                  </a:lnTo>
                  <a:lnTo>
                    <a:pt x="811" y="247"/>
                  </a:lnTo>
                  <a:lnTo>
                    <a:pt x="812" y="244"/>
                  </a:lnTo>
                  <a:lnTo>
                    <a:pt x="813" y="240"/>
                  </a:lnTo>
                  <a:lnTo>
                    <a:pt x="813" y="75"/>
                  </a:lnTo>
                  <a:lnTo>
                    <a:pt x="812" y="67"/>
                  </a:lnTo>
                  <a:lnTo>
                    <a:pt x="812" y="59"/>
                  </a:lnTo>
                  <a:lnTo>
                    <a:pt x="810" y="52"/>
                  </a:lnTo>
                  <a:lnTo>
                    <a:pt x="808" y="44"/>
                  </a:lnTo>
                  <a:lnTo>
                    <a:pt x="805" y="38"/>
                  </a:lnTo>
                  <a:lnTo>
                    <a:pt x="803" y="31"/>
                  </a:lnTo>
                  <a:lnTo>
                    <a:pt x="800" y="26"/>
                  </a:lnTo>
                  <a:lnTo>
                    <a:pt x="796" y="21"/>
                  </a:lnTo>
                  <a:lnTo>
                    <a:pt x="791" y="16"/>
                  </a:lnTo>
                  <a:lnTo>
                    <a:pt x="787" y="12"/>
                  </a:lnTo>
                  <a:lnTo>
                    <a:pt x="782" y="8"/>
                  </a:lnTo>
                  <a:lnTo>
                    <a:pt x="776" y="6"/>
                  </a:lnTo>
                  <a:lnTo>
                    <a:pt x="771" y="2"/>
                  </a:lnTo>
                  <a:lnTo>
                    <a:pt x="765" y="1"/>
                  </a:lnTo>
                  <a:lnTo>
                    <a:pt x="759" y="0"/>
                  </a:lnTo>
                  <a:lnTo>
                    <a:pt x="752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7" y="1"/>
                  </a:lnTo>
                  <a:lnTo>
                    <a:pt x="41" y="2"/>
                  </a:lnTo>
                  <a:lnTo>
                    <a:pt x="35" y="6"/>
                  </a:lnTo>
                  <a:lnTo>
                    <a:pt x="30" y="8"/>
                  </a:lnTo>
                  <a:lnTo>
                    <a:pt x="25" y="12"/>
                  </a:lnTo>
                  <a:lnTo>
                    <a:pt x="20" y="16"/>
                  </a:lnTo>
                  <a:lnTo>
                    <a:pt x="16" y="21"/>
                  </a:lnTo>
                  <a:lnTo>
                    <a:pt x="13" y="26"/>
                  </a:lnTo>
                  <a:lnTo>
                    <a:pt x="10" y="31"/>
                  </a:lnTo>
                  <a:lnTo>
                    <a:pt x="6" y="38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1" y="59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467"/>
                  </a:lnTo>
                  <a:lnTo>
                    <a:pt x="0" y="474"/>
                  </a:lnTo>
                  <a:lnTo>
                    <a:pt x="1" y="483"/>
                  </a:lnTo>
                  <a:lnTo>
                    <a:pt x="2" y="490"/>
                  </a:lnTo>
                  <a:lnTo>
                    <a:pt x="4" y="497"/>
                  </a:lnTo>
                  <a:lnTo>
                    <a:pt x="6" y="503"/>
                  </a:lnTo>
                  <a:lnTo>
                    <a:pt x="10" y="510"/>
                  </a:lnTo>
                  <a:lnTo>
                    <a:pt x="13" y="516"/>
                  </a:lnTo>
                  <a:lnTo>
                    <a:pt x="16" y="520"/>
                  </a:lnTo>
                  <a:lnTo>
                    <a:pt x="20" y="526"/>
                  </a:lnTo>
                  <a:lnTo>
                    <a:pt x="25" y="530"/>
                  </a:lnTo>
                  <a:lnTo>
                    <a:pt x="30" y="533"/>
                  </a:lnTo>
                  <a:lnTo>
                    <a:pt x="35" y="536"/>
                  </a:lnTo>
                  <a:lnTo>
                    <a:pt x="41" y="538"/>
                  </a:lnTo>
                  <a:lnTo>
                    <a:pt x="47" y="540"/>
                  </a:lnTo>
                  <a:lnTo>
                    <a:pt x="54" y="541"/>
                  </a:lnTo>
                  <a:lnTo>
                    <a:pt x="60" y="542"/>
                  </a:lnTo>
                  <a:lnTo>
                    <a:pt x="376" y="542"/>
                  </a:lnTo>
                  <a:lnTo>
                    <a:pt x="379" y="541"/>
                  </a:lnTo>
                  <a:lnTo>
                    <a:pt x="382" y="541"/>
                  </a:lnTo>
                  <a:lnTo>
                    <a:pt x="384" y="538"/>
                  </a:lnTo>
                  <a:lnTo>
                    <a:pt x="387" y="537"/>
                  </a:lnTo>
                  <a:lnTo>
                    <a:pt x="388" y="535"/>
                  </a:lnTo>
                  <a:lnTo>
                    <a:pt x="390" y="532"/>
                  </a:lnTo>
                  <a:lnTo>
                    <a:pt x="390" y="530"/>
                  </a:lnTo>
                  <a:lnTo>
                    <a:pt x="391" y="527"/>
                  </a:lnTo>
                  <a:lnTo>
                    <a:pt x="390" y="523"/>
                  </a:lnTo>
                  <a:lnTo>
                    <a:pt x="390" y="520"/>
                  </a:lnTo>
                  <a:lnTo>
                    <a:pt x="388" y="518"/>
                  </a:lnTo>
                  <a:lnTo>
                    <a:pt x="387" y="516"/>
                  </a:lnTo>
                  <a:lnTo>
                    <a:pt x="384" y="514"/>
                  </a:lnTo>
                  <a:lnTo>
                    <a:pt x="382" y="513"/>
                  </a:lnTo>
                  <a:lnTo>
                    <a:pt x="379" y="512"/>
                  </a:lnTo>
                  <a:lnTo>
                    <a:pt x="376" y="512"/>
                  </a:lnTo>
                  <a:lnTo>
                    <a:pt x="60" y="512"/>
                  </a:lnTo>
                  <a:lnTo>
                    <a:pt x="55" y="511"/>
                  </a:lnTo>
                  <a:lnTo>
                    <a:pt x="50" y="510"/>
                  </a:lnTo>
                  <a:lnTo>
                    <a:pt x="47" y="508"/>
                  </a:lnTo>
                  <a:lnTo>
                    <a:pt x="44" y="505"/>
                  </a:lnTo>
                  <a:lnTo>
                    <a:pt x="39" y="500"/>
                  </a:lnTo>
                  <a:lnTo>
                    <a:pt x="34" y="492"/>
                  </a:lnTo>
                  <a:lnTo>
                    <a:pt x="32" y="485"/>
                  </a:lnTo>
                  <a:lnTo>
                    <a:pt x="31" y="477"/>
                  </a:lnTo>
                  <a:lnTo>
                    <a:pt x="30" y="471"/>
                  </a:lnTo>
                  <a:lnTo>
                    <a:pt x="30" y="467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3" y="53"/>
                  </a:lnTo>
                  <a:lnTo>
                    <a:pt x="404" y="342"/>
                  </a:lnTo>
                  <a:lnTo>
                    <a:pt x="409" y="345"/>
                  </a:lnTo>
                  <a:lnTo>
                    <a:pt x="413" y="345"/>
                  </a:lnTo>
                  <a:lnTo>
                    <a:pt x="418" y="344"/>
                  </a:lnTo>
                  <a:lnTo>
                    <a:pt x="422" y="342"/>
                  </a:lnTo>
                  <a:lnTo>
                    <a:pt x="780" y="53"/>
                  </a:lnTo>
                  <a:lnTo>
                    <a:pt x="782" y="66"/>
                  </a:lnTo>
                  <a:lnTo>
                    <a:pt x="78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65" name="Freeform 76">
              <a:extLst>
                <a:ext uri="{FF2B5EF4-FFF2-40B4-BE49-F238E27FC236}">
                  <a16:creationId xmlns:a16="http://schemas.microsoft.com/office/drawing/2014/main" id="{03D68C04-89C1-ABE0-AEAA-0A3E8F4014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4700" y="2062163"/>
              <a:ext cx="144463" cy="142875"/>
            </a:xfrm>
            <a:custGeom>
              <a:avLst/>
              <a:gdLst>
                <a:gd name="T0" fmla="*/ 310 w 452"/>
                <a:gd name="T1" fmla="*/ 253 h 448"/>
                <a:gd name="T2" fmla="*/ 308 w 452"/>
                <a:gd name="T3" fmla="*/ 261 h 448"/>
                <a:gd name="T4" fmla="*/ 349 w 452"/>
                <a:gd name="T5" fmla="*/ 395 h 448"/>
                <a:gd name="T6" fmla="*/ 232 w 452"/>
                <a:gd name="T7" fmla="*/ 313 h 448"/>
                <a:gd name="T8" fmla="*/ 223 w 452"/>
                <a:gd name="T9" fmla="*/ 313 h 448"/>
                <a:gd name="T10" fmla="*/ 104 w 452"/>
                <a:gd name="T11" fmla="*/ 395 h 448"/>
                <a:gd name="T12" fmla="*/ 148 w 452"/>
                <a:gd name="T13" fmla="*/ 261 h 448"/>
                <a:gd name="T14" fmla="*/ 145 w 452"/>
                <a:gd name="T15" fmla="*/ 253 h 448"/>
                <a:gd name="T16" fmla="*/ 56 w 452"/>
                <a:gd name="T17" fmla="*/ 178 h 448"/>
                <a:gd name="T18" fmla="*/ 155 w 452"/>
                <a:gd name="T19" fmla="*/ 177 h 448"/>
                <a:gd name="T20" fmla="*/ 161 w 452"/>
                <a:gd name="T21" fmla="*/ 172 h 448"/>
                <a:gd name="T22" fmla="*/ 228 w 452"/>
                <a:gd name="T23" fmla="*/ 48 h 448"/>
                <a:gd name="T24" fmla="*/ 290 w 452"/>
                <a:gd name="T25" fmla="*/ 172 h 448"/>
                <a:gd name="T26" fmla="*/ 297 w 452"/>
                <a:gd name="T27" fmla="*/ 177 h 448"/>
                <a:gd name="T28" fmla="*/ 396 w 452"/>
                <a:gd name="T29" fmla="*/ 178 h 448"/>
                <a:gd name="T30" fmla="*/ 451 w 452"/>
                <a:gd name="T31" fmla="*/ 157 h 448"/>
                <a:gd name="T32" fmla="*/ 445 w 452"/>
                <a:gd name="T33" fmla="*/ 150 h 448"/>
                <a:gd name="T34" fmla="*/ 437 w 452"/>
                <a:gd name="T35" fmla="*/ 148 h 448"/>
                <a:gd name="T36" fmla="*/ 242 w 452"/>
                <a:gd name="T37" fmla="*/ 8 h 448"/>
                <a:gd name="T38" fmla="*/ 236 w 452"/>
                <a:gd name="T39" fmla="*/ 2 h 448"/>
                <a:gd name="T40" fmla="*/ 229 w 452"/>
                <a:gd name="T41" fmla="*/ 0 h 448"/>
                <a:gd name="T42" fmla="*/ 228 w 452"/>
                <a:gd name="T43" fmla="*/ 0 h 448"/>
                <a:gd name="T44" fmla="*/ 220 w 452"/>
                <a:gd name="T45" fmla="*/ 2 h 448"/>
                <a:gd name="T46" fmla="*/ 215 w 452"/>
                <a:gd name="T47" fmla="*/ 7 h 448"/>
                <a:gd name="T48" fmla="*/ 15 w 452"/>
                <a:gd name="T49" fmla="*/ 148 h 448"/>
                <a:gd name="T50" fmla="*/ 7 w 452"/>
                <a:gd name="T51" fmla="*/ 150 h 448"/>
                <a:gd name="T52" fmla="*/ 1 w 452"/>
                <a:gd name="T53" fmla="*/ 157 h 448"/>
                <a:gd name="T54" fmla="*/ 0 w 452"/>
                <a:gd name="T55" fmla="*/ 166 h 448"/>
                <a:gd name="T56" fmla="*/ 6 w 452"/>
                <a:gd name="T57" fmla="*/ 173 h 448"/>
                <a:gd name="T58" fmla="*/ 62 w 452"/>
                <a:gd name="T59" fmla="*/ 429 h 448"/>
                <a:gd name="T60" fmla="*/ 62 w 452"/>
                <a:gd name="T61" fmla="*/ 437 h 448"/>
                <a:gd name="T62" fmla="*/ 67 w 452"/>
                <a:gd name="T63" fmla="*/ 445 h 448"/>
                <a:gd name="T64" fmla="*/ 75 w 452"/>
                <a:gd name="T65" fmla="*/ 448 h 448"/>
                <a:gd name="T66" fmla="*/ 84 w 452"/>
                <a:gd name="T67" fmla="*/ 446 h 448"/>
                <a:gd name="T68" fmla="*/ 367 w 452"/>
                <a:gd name="T69" fmla="*/ 446 h 448"/>
                <a:gd name="T70" fmla="*/ 377 w 452"/>
                <a:gd name="T71" fmla="*/ 448 h 448"/>
                <a:gd name="T72" fmla="*/ 385 w 452"/>
                <a:gd name="T73" fmla="*/ 446 h 448"/>
                <a:gd name="T74" fmla="*/ 391 w 452"/>
                <a:gd name="T75" fmla="*/ 438 h 448"/>
                <a:gd name="T76" fmla="*/ 391 w 452"/>
                <a:gd name="T77" fmla="*/ 429 h 448"/>
                <a:gd name="T78" fmla="*/ 446 w 452"/>
                <a:gd name="T79" fmla="*/ 173 h 448"/>
                <a:gd name="T80" fmla="*/ 451 w 452"/>
                <a:gd name="T81" fmla="*/ 166 h 448"/>
                <a:gd name="T82" fmla="*/ 451 w 452"/>
                <a:gd name="T83" fmla="*/ 15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52" h="448">
                  <a:moveTo>
                    <a:pt x="312" y="249"/>
                  </a:moveTo>
                  <a:lnTo>
                    <a:pt x="310" y="253"/>
                  </a:lnTo>
                  <a:lnTo>
                    <a:pt x="308" y="257"/>
                  </a:lnTo>
                  <a:lnTo>
                    <a:pt x="308" y="261"/>
                  </a:lnTo>
                  <a:lnTo>
                    <a:pt x="308" y="266"/>
                  </a:lnTo>
                  <a:lnTo>
                    <a:pt x="349" y="395"/>
                  </a:lnTo>
                  <a:lnTo>
                    <a:pt x="236" y="315"/>
                  </a:lnTo>
                  <a:lnTo>
                    <a:pt x="232" y="313"/>
                  </a:lnTo>
                  <a:lnTo>
                    <a:pt x="228" y="313"/>
                  </a:lnTo>
                  <a:lnTo>
                    <a:pt x="223" y="313"/>
                  </a:lnTo>
                  <a:lnTo>
                    <a:pt x="219" y="315"/>
                  </a:lnTo>
                  <a:lnTo>
                    <a:pt x="104" y="395"/>
                  </a:lnTo>
                  <a:lnTo>
                    <a:pt x="147" y="266"/>
                  </a:lnTo>
                  <a:lnTo>
                    <a:pt x="148" y="261"/>
                  </a:lnTo>
                  <a:lnTo>
                    <a:pt x="147" y="257"/>
                  </a:lnTo>
                  <a:lnTo>
                    <a:pt x="145" y="253"/>
                  </a:lnTo>
                  <a:lnTo>
                    <a:pt x="143" y="249"/>
                  </a:lnTo>
                  <a:lnTo>
                    <a:pt x="56" y="178"/>
                  </a:lnTo>
                  <a:lnTo>
                    <a:pt x="151" y="178"/>
                  </a:lnTo>
                  <a:lnTo>
                    <a:pt x="155" y="177"/>
                  </a:lnTo>
                  <a:lnTo>
                    <a:pt x="158" y="176"/>
                  </a:lnTo>
                  <a:lnTo>
                    <a:pt x="161" y="172"/>
                  </a:lnTo>
                  <a:lnTo>
                    <a:pt x="164" y="169"/>
                  </a:lnTo>
                  <a:lnTo>
                    <a:pt x="228" y="48"/>
                  </a:lnTo>
                  <a:lnTo>
                    <a:pt x="288" y="169"/>
                  </a:lnTo>
                  <a:lnTo>
                    <a:pt x="290" y="172"/>
                  </a:lnTo>
                  <a:lnTo>
                    <a:pt x="293" y="176"/>
                  </a:lnTo>
                  <a:lnTo>
                    <a:pt x="297" y="177"/>
                  </a:lnTo>
                  <a:lnTo>
                    <a:pt x="301" y="178"/>
                  </a:lnTo>
                  <a:lnTo>
                    <a:pt x="396" y="178"/>
                  </a:lnTo>
                  <a:lnTo>
                    <a:pt x="312" y="249"/>
                  </a:lnTo>
                  <a:close/>
                  <a:moveTo>
                    <a:pt x="451" y="157"/>
                  </a:moveTo>
                  <a:lnTo>
                    <a:pt x="449" y="153"/>
                  </a:lnTo>
                  <a:lnTo>
                    <a:pt x="445" y="150"/>
                  </a:lnTo>
                  <a:lnTo>
                    <a:pt x="441" y="148"/>
                  </a:lnTo>
                  <a:lnTo>
                    <a:pt x="437" y="148"/>
                  </a:lnTo>
                  <a:lnTo>
                    <a:pt x="310" y="148"/>
                  </a:lnTo>
                  <a:lnTo>
                    <a:pt x="242" y="8"/>
                  </a:lnTo>
                  <a:lnTo>
                    <a:pt x="240" y="4"/>
                  </a:lnTo>
                  <a:lnTo>
                    <a:pt x="236" y="2"/>
                  </a:lnTo>
                  <a:lnTo>
                    <a:pt x="232" y="0"/>
                  </a:lnTo>
                  <a:lnTo>
                    <a:pt x="229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5" y="0"/>
                  </a:lnTo>
                  <a:lnTo>
                    <a:pt x="220" y="2"/>
                  </a:lnTo>
                  <a:lnTo>
                    <a:pt x="217" y="4"/>
                  </a:lnTo>
                  <a:lnTo>
                    <a:pt x="215" y="7"/>
                  </a:lnTo>
                  <a:lnTo>
                    <a:pt x="142" y="148"/>
                  </a:lnTo>
                  <a:lnTo>
                    <a:pt x="15" y="148"/>
                  </a:lnTo>
                  <a:lnTo>
                    <a:pt x="11" y="148"/>
                  </a:lnTo>
                  <a:lnTo>
                    <a:pt x="7" y="150"/>
                  </a:lnTo>
                  <a:lnTo>
                    <a:pt x="4" y="153"/>
                  </a:lnTo>
                  <a:lnTo>
                    <a:pt x="1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3" y="170"/>
                  </a:lnTo>
                  <a:lnTo>
                    <a:pt x="6" y="173"/>
                  </a:lnTo>
                  <a:lnTo>
                    <a:pt x="115" y="266"/>
                  </a:lnTo>
                  <a:lnTo>
                    <a:pt x="62" y="429"/>
                  </a:lnTo>
                  <a:lnTo>
                    <a:pt x="60" y="433"/>
                  </a:lnTo>
                  <a:lnTo>
                    <a:pt x="62" y="437"/>
                  </a:lnTo>
                  <a:lnTo>
                    <a:pt x="63" y="441"/>
                  </a:lnTo>
                  <a:lnTo>
                    <a:pt x="67" y="445"/>
                  </a:lnTo>
                  <a:lnTo>
                    <a:pt x="71" y="448"/>
                  </a:lnTo>
                  <a:lnTo>
                    <a:pt x="75" y="448"/>
                  </a:lnTo>
                  <a:lnTo>
                    <a:pt x="80" y="448"/>
                  </a:lnTo>
                  <a:lnTo>
                    <a:pt x="84" y="446"/>
                  </a:lnTo>
                  <a:lnTo>
                    <a:pt x="228" y="346"/>
                  </a:lnTo>
                  <a:lnTo>
                    <a:pt x="367" y="446"/>
                  </a:lnTo>
                  <a:lnTo>
                    <a:pt x="371" y="448"/>
                  </a:lnTo>
                  <a:lnTo>
                    <a:pt x="377" y="448"/>
                  </a:lnTo>
                  <a:lnTo>
                    <a:pt x="381" y="448"/>
                  </a:lnTo>
                  <a:lnTo>
                    <a:pt x="385" y="446"/>
                  </a:lnTo>
                  <a:lnTo>
                    <a:pt x="389" y="441"/>
                  </a:lnTo>
                  <a:lnTo>
                    <a:pt x="391" y="438"/>
                  </a:lnTo>
                  <a:lnTo>
                    <a:pt x="392" y="433"/>
                  </a:lnTo>
                  <a:lnTo>
                    <a:pt x="391" y="429"/>
                  </a:lnTo>
                  <a:lnTo>
                    <a:pt x="340" y="266"/>
                  </a:lnTo>
                  <a:lnTo>
                    <a:pt x="446" y="173"/>
                  </a:lnTo>
                  <a:lnTo>
                    <a:pt x="450" y="170"/>
                  </a:lnTo>
                  <a:lnTo>
                    <a:pt x="451" y="166"/>
                  </a:lnTo>
                  <a:lnTo>
                    <a:pt x="452" y="162"/>
                  </a:lnTo>
                  <a:lnTo>
                    <a:pt x="451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7B09B68F-0801-CB2F-148D-0F0B227B0DF7}"/>
              </a:ext>
            </a:extLst>
          </p:cNvPr>
          <p:cNvGrpSpPr/>
          <p:nvPr/>
        </p:nvGrpSpPr>
        <p:grpSpPr>
          <a:xfrm>
            <a:off x="9563888" y="5372671"/>
            <a:ext cx="338295" cy="338295"/>
            <a:chOff x="2598738" y="1933575"/>
            <a:chExt cx="287338" cy="287338"/>
          </a:xfrm>
          <a:solidFill>
            <a:srgbClr val="3B3939"/>
          </a:solidFill>
        </p:grpSpPr>
        <p:sp>
          <p:nvSpPr>
            <p:cNvPr id="167" name="Freeform 10">
              <a:extLst>
                <a:ext uri="{FF2B5EF4-FFF2-40B4-BE49-F238E27FC236}">
                  <a16:creationId xmlns:a16="http://schemas.microsoft.com/office/drawing/2014/main" id="{0A2FA601-9734-4ED7-462C-431F34A6E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3050" y="1933575"/>
              <a:ext cx="63500" cy="106363"/>
            </a:xfrm>
            <a:custGeom>
              <a:avLst/>
              <a:gdLst>
                <a:gd name="T0" fmla="*/ 3 w 196"/>
                <a:gd name="T1" fmla="*/ 99 h 331"/>
                <a:gd name="T2" fmla="*/ 81 w 196"/>
                <a:gd name="T3" fmla="*/ 176 h 331"/>
                <a:gd name="T4" fmla="*/ 85 w 196"/>
                <a:gd name="T5" fmla="*/ 179 h 331"/>
                <a:gd name="T6" fmla="*/ 91 w 196"/>
                <a:gd name="T7" fmla="*/ 180 h 331"/>
                <a:gd name="T8" fmla="*/ 97 w 196"/>
                <a:gd name="T9" fmla="*/ 179 h 331"/>
                <a:gd name="T10" fmla="*/ 102 w 196"/>
                <a:gd name="T11" fmla="*/ 176 h 331"/>
                <a:gd name="T12" fmla="*/ 105 w 196"/>
                <a:gd name="T13" fmla="*/ 172 h 331"/>
                <a:gd name="T14" fmla="*/ 106 w 196"/>
                <a:gd name="T15" fmla="*/ 166 h 331"/>
                <a:gd name="T16" fmla="*/ 105 w 196"/>
                <a:gd name="T17" fmla="*/ 160 h 331"/>
                <a:gd name="T18" fmla="*/ 102 w 196"/>
                <a:gd name="T19" fmla="*/ 155 h 331"/>
                <a:gd name="T20" fmla="*/ 121 w 196"/>
                <a:gd name="T21" fmla="*/ 105 h 331"/>
                <a:gd name="T22" fmla="*/ 137 w 196"/>
                <a:gd name="T23" fmla="*/ 109 h 331"/>
                <a:gd name="T24" fmla="*/ 152 w 196"/>
                <a:gd name="T25" fmla="*/ 120 h 331"/>
                <a:gd name="T26" fmla="*/ 162 w 196"/>
                <a:gd name="T27" fmla="*/ 134 h 331"/>
                <a:gd name="T28" fmla="*/ 166 w 196"/>
                <a:gd name="T29" fmla="*/ 150 h 331"/>
                <a:gd name="T30" fmla="*/ 166 w 196"/>
                <a:gd name="T31" fmla="*/ 320 h 331"/>
                <a:gd name="T32" fmla="*/ 169 w 196"/>
                <a:gd name="T33" fmla="*/ 325 h 331"/>
                <a:gd name="T34" fmla="*/ 173 w 196"/>
                <a:gd name="T35" fmla="*/ 328 h 331"/>
                <a:gd name="T36" fmla="*/ 178 w 196"/>
                <a:gd name="T37" fmla="*/ 330 h 331"/>
                <a:gd name="T38" fmla="*/ 185 w 196"/>
                <a:gd name="T39" fmla="*/ 330 h 331"/>
                <a:gd name="T40" fmla="*/ 190 w 196"/>
                <a:gd name="T41" fmla="*/ 328 h 331"/>
                <a:gd name="T42" fmla="*/ 193 w 196"/>
                <a:gd name="T43" fmla="*/ 325 h 331"/>
                <a:gd name="T44" fmla="*/ 196 w 196"/>
                <a:gd name="T45" fmla="*/ 320 h 331"/>
                <a:gd name="T46" fmla="*/ 196 w 196"/>
                <a:gd name="T47" fmla="*/ 150 h 331"/>
                <a:gd name="T48" fmla="*/ 194 w 196"/>
                <a:gd name="T49" fmla="*/ 136 h 331"/>
                <a:gd name="T50" fmla="*/ 190 w 196"/>
                <a:gd name="T51" fmla="*/ 122 h 331"/>
                <a:gd name="T52" fmla="*/ 183 w 196"/>
                <a:gd name="T53" fmla="*/ 109 h 331"/>
                <a:gd name="T54" fmla="*/ 174 w 196"/>
                <a:gd name="T55" fmla="*/ 98 h 331"/>
                <a:gd name="T56" fmla="*/ 162 w 196"/>
                <a:gd name="T57" fmla="*/ 89 h 331"/>
                <a:gd name="T58" fmla="*/ 149 w 196"/>
                <a:gd name="T59" fmla="*/ 82 h 331"/>
                <a:gd name="T60" fmla="*/ 135 w 196"/>
                <a:gd name="T61" fmla="*/ 77 h 331"/>
                <a:gd name="T62" fmla="*/ 121 w 196"/>
                <a:gd name="T63" fmla="*/ 75 h 331"/>
                <a:gd name="T64" fmla="*/ 102 w 196"/>
                <a:gd name="T65" fmla="*/ 26 h 331"/>
                <a:gd name="T66" fmla="*/ 105 w 196"/>
                <a:gd name="T67" fmla="*/ 22 h 331"/>
                <a:gd name="T68" fmla="*/ 106 w 196"/>
                <a:gd name="T69" fmla="*/ 15 h 331"/>
                <a:gd name="T70" fmla="*/ 105 w 196"/>
                <a:gd name="T71" fmla="*/ 10 h 331"/>
                <a:gd name="T72" fmla="*/ 102 w 196"/>
                <a:gd name="T73" fmla="*/ 4 h 331"/>
                <a:gd name="T74" fmla="*/ 97 w 196"/>
                <a:gd name="T75" fmla="*/ 1 h 331"/>
                <a:gd name="T76" fmla="*/ 91 w 196"/>
                <a:gd name="T77" fmla="*/ 0 h 331"/>
                <a:gd name="T78" fmla="*/ 85 w 196"/>
                <a:gd name="T79" fmla="*/ 1 h 331"/>
                <a:gd name="T80" fmla="*/ 81 w 196"/>
                <a:gd name="T81" fmla="*/ 4 h 331"/>
                <a:gd name="T82" fmla="*/ 3 w 196"/>
                <a:gd name="T83" fmla="*/ 83 h 331"/>
                <a:gd name="T84" fmla="*/ 1 w 196"/>
                <a:gd name="T85" fmla="*/ 88 h 331"/>
                <a:gd name="T86" fmla="*/ 1 w 196"/>
                <a:gd name="T87" fmla="*/ 9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31">
                  <a:moveTo>
                    <a:pt x="1" y="97"/>
                  </a:moveTo>
                  <a:lnTo>
                    <a:pt x="3" y="99"/>
                  </a:lnTo>
                  <a:lnTo>
                    <a:pt x="6" y="101"/>
                  </a:lnTo>
                  <a:lnTo>
                    <a:pt x="81" y="176"/>
                  </a:lnTo>
                  <a:lnTo>
                    <a:pt x="83" y="178"/>
                  </a:lnTo>
                  <a:lnTo>
                    <a:pt x="85" y="179"/>
                  </a:lnTo>
                  <a:lnTo>
                    <a:pt x="88" y="180"/>
                  </a:lnTo>
                  <a:lnTo>
                    <a:pt x="91" y="180"/>
                  </a:lnTo>
                  <a:lnTo>
                    <a:pt x="93" y="180"/>
                  </a:lnTo>
                  <a:lnTo>
                    <a:pt x="97" y="179"/>
                  </a:lnTo>
                  <a:lnTo>
                    <a:pt x="99" y="178"/>
                  </a:lnTo>
                  <a:lnTo>
                    <a:pt x="102" y="176"/>
                  </a:lnTo>
                  <a:lnTo>
                    <a:pt x="103" y="174"/>
                  </a:lnTo>
                  <a:lnTo>
                    <a:pt x="105" y="172"/>
                  </a:lnTo>
                  <a:lnTo>
                    <a:pt x="105" y="168"/>
                  </a:lnTo>
                  <a:lnTo>
                    <a:pt x="106" y="166"/>
                  </a:lnTo>
                  <a:lnTo>
                    <a:pt x="105" y="163"/>
                  </a:lnTo>
                  <a:lnTo>
                    <a:pt x="105" y="160"/>
                  </a:lnTo>
                  <a:lnTo>
                    <a:pt x="103" y="158"/>
                  </a:lnTo>
                  <a:lnTo>
                    <a:pt x="102" y="155"/>
                  </a:lnTo>
                  <a:lnTo>
                    <a:pt x="52" y="105"/>
                  </a:lnTo>
                  <a:lnTo>
                    <a:pt x="121" y="105"/>
                  </a:lnTo>
                  <a:lnTo>
                    <a:pt x="129" y="106"/>
                  </a:lnTo>
                  <a:lnTo>
                    <a:pt x="137" y="109"/>
                  </a:lnTo>
                  <a:lnTo>
                    <a:pt x="145" y="114"/>
                  </a:lnTo>
                  <a:lnTo>
                    <a:pt x="152" y="120"/>
                  </a:lnTo>
                  <a:lnTo>
                    <a:pt x="158" y="127"/>
                  </a:lnTo>
                  <a:lnTo>
                    <a:pt x="162" y="134"/>
                  </a:lnTo>
                  <a:lnTo>
                    <a:pt x="165" y="143"/>
                  </a:lnTo>
                  <a:lnTo>
                    <a:pt x="166" y="150"/>
                  </a:lnTo>
                  <a:lnTo>
                    <a:pt x="166" y="316"/>
                  </a:lnTo>
                  <a:lnTo>
                    <a:pt x="166" y="320"/>
                  </a:lnTo>
                  <a:lnTo>
                    <a:pt x="167" y="322"/>
                  </a:lnTo>
                  <a:lnTo>
                    <a:pt x="169" y="325"/>
                  </a:lnTo>
                  <a:lnTo>
                    <a:pt x="171" y="327"/>
                  </a:lnTo>
                  <a:lnTo>
                    <a:pt x="173" y="328"/>
                  </a:lnTo>
                  <a:lnTo>
                    <a:pt x="175" y="330"/>
                  </a:lnTo>
                  <a:lnTo>
                    <a:pt x="178" y="330"/>
                  </a:lnTo>
                  <a:lnTo>
                    <a:pt x="181" y="331"/>
                  </a:lnTo>
                  <a:lnTo>
                    <a:pt x="185" y="330"/>
                  </a:lnTo>
                  <a:lnTo>
                    <a:pt x="187" y="330"/>
                  </a:lnTo>
                  <a:lnTo>
                    <a:pt x="190" y="328"/>
                  </a:lnTo>
                  <a:lnTo>
                    <a:pt x="192" y="327"/>
                  </a:lnTo>
                  <a:lnTo>
                    <a:pt x="193" y="325"/>
                  </a:lnTo>
                  <a:lnTo>
                    <a:pt x="195" y="322"/>
                  </a:lnTo>
                  <a:lnTo>
                    <a:pt x="196" y="320"/>
                  </a:lnTo>
                  <a:lnTo>
                    <a:pt x="196" y="316"/>
                  </a:lnTo>
                  <a:lnTo>
                    <a:pt x="196" y="150"/>
                  </a:lnTo>
                  <a:lnTo>
                    <a:pt x="195" y="143"/>
                  </a:lnTo>
                  <a:lnTo>
                    <a:pt x="194" y="136"/>
                  </a:lnTo>
                  <a:lnTo>
                    <a:pt x="193" y="129"/>
                  </a:lnTo>
                  <a:lnTo>
                    <a:pt x="190" y="122"/>
                  </a:lnTo>
                  <a:lnTo>
                    <a:pt x="187" y="116"/>
                  </a:lnTo>
                  <a:lnTo>
                    <a:pt x="183" y="109"/>
                  </a:lnTo>
                  <a:lnTo>
                    <a:pt x="178" y="104"/>
                  </a:lnTo>
                  <a:lnTo>
                    <a:pt x="174" y="98"/>
                  </a:lnTo>
                  <a:lnTo>
                    <a:pt x="167" y="93"/>
                  </a:lnTo>
                  <a:lnTo>
                    <a:pt x="162" y="89"/>
                  </a:lnTo>
                  <a:lnTo>
                    <a:pt x="156" y="85"/>
                  </a:lnTo>
                  <a:lnTo>
                    <a:pt x="149" y="82"/>
                  </a:lnTo>
                  <a:lnTo>
                    <a:pt x="143" y="78"/>
                  </a:lnTo>
                  <a:lnTo>
                    <a:pt x="135" y="77"/>
                  </a:lnTo>
                  <a:lnTo>
                    <a:pt x="129" y="75"/>
                  </a:lnTo>
                  <a:lnTo>
                    <a:pt x="121" y="75"/>
                  </a:lnTo>
                  <a:lnTo>
                    <a:pt x="52" y="75"/>
                  </a:lnTo>
                  <a:lnTo>
                    <a:pt x="102" y="26"/>
                  </a:lnTo>
                  <a:lnTo>
                    <a:pt x="103" y="24"/>
                  </a:lnTo>
                  <a:lnTo>
                    <a:pt x="105" y="22"/>
                  </a:lnTo>
                  <a:lnTo>
                    <a:pt x="105" y="18"/>
                  </a:lnTo>
                  <a:lnTo>
                    <a:pt x="106" y="15"/>
                  </a:lnTo>
                  <a:lnTo>
                    <a:pt x="105" y="13"/>
                  </a:lnTo>
                  <a:lnTo>
                    <a:pt x="105" y="10"/>
                  </a:lnTo>
                  <a:lnTo>
                    <a:pt x="103" y="7"/>
                  </a:lnTo>
                  <a:lnTo>
                    <a:pt x="102" y="4"/>
                  </a:lnTo>
                  <a:lnTo>
                    <a:pt x="99" y="2"/>
                  </a:lnTo>
                  <a:lnTo>
                    <a:pt x="97" y="1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5" y="1"/>
                  </a:lnTo>
                  <a:lnTo>
                    <a:pt x="83" y="2"/>
                  </a:lnTo>
                  <a:lnTo>
                    <a:pt x="81" y="4"/>
                  </a:lnTo>
                  <a:lnTo>
                    <a:pt x="6" y="79"/>
                  </a:lnTo>
                  <a:lnTo>
                    <a:pt x="3" y="83"/>
                  </a:lnTo>
                  <a:lnTo>
                    <a:pt x="1" y="86"/>
                  </a:lnTo>
                  <a:lnTo>
                    <a:pt x="1" y="88"/>
                  </a:lnTo>
                  <a:lnTo>
                    <a:pt x="0" y="91"/>
                  </a:lnTo>
                  <a:lnTo>
                    <a:pt x="1" y="93"/>
                  </a:lnTo>
                  <a:lnTo>
                    <a:pt x="1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68" name="Freeform 11">
              <a:extLst>
                <a:ext uri="{FF2B5EF4-FFF2-40B4-BE49-F238E27FC236}">
                  <a16:creationId xmlns:a16="http://schemas.microsoft.com/office/drawing/2014/main" id="{B7EBB6B7-32F8-DDCE-BF14-D1833D2ED0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33575"/>
              <a:ext cx="287338" cy="287338"/>
            </a:xfrm>
            <a:custGeom>
              <a:avLst/>
              <a:gdLst>
                <a:gd name="T0" fmla="*/ 866 w 903"/>
                <a:gd name="T1" fmla="*/ 819 h 903"/>
                <a:gd name="T2" fmla="*/ 838 w 903"/>
                <a:gd name="T3" fmla="*/ 854 h 903"/>
                <a:gd name="T4" fmla="*/ 795 w 903"/>
                <a:gd name="T5" fmla="*/ 871 h 903"/>
                <a:gd name="T6" fmla="*/ 417 w 903"/>
                <a:gd name="T7" fmla="*/ 850 h 903"/>
                <a:gd name="T8" fmla="*/ 422 w 903"/>
                <a:gd name="T9" fmla="*/ 572 h 903"/>
                <a:gd name="T10" fmla="*/ 391 w 903"/>
                <a:gd name="T11" fmla="*/ 835 h 903"/>
                <a:gd name="T12" fmla="*/ 363 w 903"/>
                <a:gd name="T13" fmla="*/ 869 h 903"/>
                <a:gd name="T14" fmla="*/ 322 w 903"/>
                <a:gd name="T15" fmla="*/ 863 h 903"/>
                <a:gd name="T16" fmla="*/ 302 w 903"/>
                <a:gd name="T17" fmla="*/ 828 h 903"/>
                <a:gd name="T18" fmla="*/ 419 w 903"/>
                <a:gd name="T19" fmla="*/ 473 h 903"/>
                <a:gd name="T20" fmla="*/ 429 w 903"/>
                <a:gd name="T21" fmla="*/ 482 h 903"/>
                <a:gd name="T22" fmla="*/ 783 w 903"/>
                <a:gd name="T23" fmla="*/ 542 h 903"/>
                <a:gd name="T24" fmla="*/ 396 w 903"/>
                <a:gd name="T25" fmla="*/ 547 h 903"/>
                <a:gd name="T26" fmla="*/ 140 w 903"/>
                <a:gd name="T27" fmla="*/ 452 h 903"/>
                <a:gd name="T28" fmla="*/ 151 w 903"/>
                <a:gd name="T29" fmla="*/ 180 h 903"/>
                <a:gd name="T30" fmla="*/ 602 w 903"/>
                <a:gd name="T31" fmla="*/ 399 h 903"/>
                <a:gd name="T32" fmla="*/ 588 w 903"/>
                <a:gd name="T33" fmla="*/ 427 h 903"/>
                <a:gd name="T34" fmla="*/ 547 w 903"/>
                <a:gd name="T35" fmla="*/ 448 h 903"/>
                <a:gd name="T36" fmla="*/ 448 w 903"/>
                <a:gd name="T37" fmla="*/ 437 h 903"/>
                <a:gd name="T38" fmla="*/ 441 w 903"/>
                <a:gd name="T39" fmla="*/ 424 h 903"/>
                <a:gd name="T40" fmla="*/ 284 w 903"/>
                <a:gd name="T41" fmla="*/ 422 h 903"/>
                <a:gd name="T42" fmla="*/ 273 w 903"/>
                <a:gd name="T43" fmla="*/ 431 h 903"/>
                <a:gd name="T44" fmla="*/ 30 w 903"/>
                <a:gd name="T45" fmla="*/ 414 h 903"/>
                <a:gd name="T46" fmla="*/ 182 w 903"/>
                <a:gd name="T47" fmla="*/ 82 h 903"/>
                <a:gd name="T48" fmla="*/ 192 w 903"/>
                <a:gd name="T49" fmla="*/ 90 h 903"/>
                <a:gd name="T50" fmla="*/ 132 w 903"/>
                <a:gd name="T51" fmla="*/ 151 h 903"/>
                <a:gd name="T52" fmla="*/ 122 w 903"/>
                <a:gd name="T53" fmla="*/ 160 h 903"/>
                <a:gd name="T54" fmla="*/ 119 w 903"/>
                <a:gd name="T55" fmla="*/ 425 h 903"/>
                <a:gd name="T56" fmla="*/ 108 w 903"/>
                <a:gd name="T57" fmla="*/ 443 h 903"/>
                <a:gd name="T58" fmla="*/ 76 w 903"/>
                <a:gd name="T59" fmla="*/ 452 h 903"/>
                <a:gd name="T60" fmla="*/ 43 w 903"/>
                <a:gd name="T61" fmla="*/ 443 h 903"/>
                <a:gd name="T62" fmla="*/ 32 w 903"/>
                <a:gd name="T63" fmla="*/ 425 h 903"/>
                <a:gd name="T64" fmla="*/ 813 w 903"/>
                <a:gd name="T65" fmla="*/ 467 h 903"/>
                <a:gd name="T66" fmla="*/ 807 w 903"/>
                <a:gd name="T67" fmla="*/ 455 h 903"/>
                <a:gd name="T68" fmla="*/ 607 w 903"/>
                <a:gd name="T69" fmla="*/ 449 h 903"/>
                <a:gd name="T70" fmla="*/ 629 w 903"/>
                <a:gd name="T71" fmla="*/ 415 h 903"/>
                <a:gd name="T72" fmla="*/ 632 w 903"/>
                <a:gd name="T73" fmla="*/ 165 h 903"/>
                <a:gd name="T74" fmla="*/ 626 w 903"/>
                <a:gd name="T75" fmla="*/ 153 h 903"/>
                <a:gd name="T76" fmla="*/ 572 w 903"/>
                <a:gd name="T77" fmla="*/ 75 h 903"/>
                <a:gd name="T78" fmla="*/ 566 w 903"/>
                <a:gd name="T79" fmla="*/ 63 h 903"/>
                <a:gd name="T80" fmla="*/ 211 w 903"/>
                <a:gd name="T81" fmla="*/ 15 h 903"/>
                <a:gd name="T82" fmla="*/ 204 w 903"/>
                <a:gd name="T83" fmla="*/ 2 h 903"/>
                <a:gd name="T84" fmla="*/ 12 w 903"/>
                <a:gd name="T85" fmla="*/ 0 h 903"/>
                <a:gd name="T86" fmla="*/ 2 w 903"/>
                <a:gd name="T87" fmla="*/ 10 h 903"/>
                <a:gd name="T88" fmla="*/ 2 w 903"/>
                <a:gd name="T89" fmla="*/ 429 h 903"/>
                <a:gd name="T90" fmla="*/ 17 w 903"/>
                <a:gd name="T91" fmla="*/ 459 h 903"/>
                <a:gd name="T92" fmla="*/ 44 w 903"/>
                <a:gd name="T93" fmla="*/ 477 h 903"/>
                <a:gd name="T94" fmla="*/ 271 w 903"/>
                <a:gd name="T95" fmla="*/ 482 h 903"/>
                <a:gd name="T96" fmla="*/ 277 w 903"/>
                <a:gd name="T97" fmla="*/ 854 h 903"/>
                <a:gd name="T98" fmla="*/ 299 w 903"/>
                <a:gd name="T99" fmla="*/ 884 h 903"/>
                <a:gd name="T100" fmla="*/ 332 w 903"/>
                <a:gd name="T101" fmla="*/ 901 h 903"/>
                <a:gd name="T102" fmla="*/ 802 w 903"/>
                <a:gd name="T103" fmla="*/ 901 h 903"/>
                <a:gd name="T104" fmla="*/ 857 w 903"/>
                <a:gd name="T105" fmla="*/ 876 h 903"/>
                <a:gd name="T106" fmla="*/ 894 w 903"/>
                <a:gd name="T107" fmla="*/ 830 h 903"/>
                <a:gd name="T108" fmla="*/ 903 w 903"/>
                <a:gd name="T109" fmla="*/ 557 h 903"/>
                <a:gd name="T110" fmla="*/ 897 w 903"/>
                <a:gd name="T111" fmla="*/ 5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3" h="903">
                  <a:moveTo>
                    <a:pt x="873" y="783"/>
                  </a:moveTo>
                  <a:lnTo>
                    <a:pt x="872" y="793"/>
                  </a:lnTo>
                  <a:lnTo>
                    <a:pt x="871" y="801"/>
                  </a:lnTo>
                  <a:lnTo>
                    <a:pt x="869" y="811"/>
                  </a:lnTo>
                  <a:lnTo>
                    <a:pt x="866" y="819"/>
                  </a:lnTo>
                  <a:lnTo>
                    <a:pt x="862" y="827"/>
                  </a:lnTo>
                  <a:lnTo>
                    <a:pt x="857" y="834"/>
                  </a:lnTo>
                  <a:lnTo>
                    <a:pt x="852" y="841"/>
                  </a:lnTo>
                  <a:lnTo>
                    <a:pt x="846" y="847"/>
                  </a:lnTo>
                  <a:lnTo>
                    <a:pt x="838" y="854"/>
                  </a:lnTo>
                  <a:lnTo>
                    <a:pt x="831" y="858"/>
                  </a:lnTo>
                  <a:lnTo>
                    <a:pt x="823" y="862"/>
                  </a:lnTo>
                  <a:lnTo>
                    <a:pt x="814" y="867"/>
                  </a:lnTo>
                  <a:lnTo>
                    <a:pt x="805" y="869"/>
                  </a:lnTo>
                  <a:lnTo>
                    <a:pt x="795" y="871"/>
                  </a:lnTo>
                  <a:lnTo>
                    <a:pt x="786" y="873"/>
                  </a:lnTo>
                  <a:lnTo>
                    <a:pt x="775" y="873"/>
                  </a:lnTo>
                  <a:lnTo>
                    <a:pt x="404" y="873"/>
                  </a:lnTo>
                  <a:lnTo>
                    <a:pt x="411" y="862"/>
                  </a:lnTo>
                  <a:lnTo>
                    <a:pt x="417" y="850"/>
                  </a:lnTo>
                  <a:lnTo>
                    <a:pt x="419" y="845"/>
                  </a:lnTo>
                  <a:lnTo>
                    <a:pt x="421" y="840"/>
                  </a:lnTo>
                  <a:lnTo>
                    <a:pt x="422" y="833"/>
                  </a:lnTo>
                  <a:lnTo>
                    <a:pt x="422" y="828"/>
                  </a:lnTo>
                  <a:lnTo>
                    <a:pt x="422" y="572"/>
                  </a:lnTo>
                  <a:lnTo>
                    <a:pt x="873" y="572"/>
                  </a:lnTo>
                  <a:lnTo>
                    <a:pt x="873" y="783"/>
                  </a:lnTo>
                  <a:close/>
                  <a:moveTo>
                    <a:pt x="392" y="557"/>
                  </a:moveTo>
                  <a:lnTo>
                    <a:pt x="392" y="828"/>
                  </a:lnTo>
                  <a:lnTo>
                    <a:pt x="391" y="835"/>
                  </a:lnTo>
                  <a:lnTo>
                    <a:pt x="388" y="843"/>
                  </a:lnTo>
                  <a:lnTo>
                    <a:pt x="383" y="850"/>
                  </a:lnTo>
                  <a:lnTo>
                    <a:pt x="378" y="858"/>
                  </a:lnTo>
                  <a:lnTo>
                    <a:pt x="370" y="863"/>
                  </a:lnTo>
                  <a:lnTo>
                    <a:pt x="363" y="869"/>
                  </a:lnTo>
                  <a:lnTo>
                    <a:pt x="354" y="872"/>
                  </a:lnTo>
                  <a:lnTo>
                    <a:pt x="347" y="873"/>
                  </a:lnTo>
                  <a:lnTo>
                    <a:pt x="338" y="872"/>
                  </a:lnTo>
                  <a:lnTo>
                    <a:pt x="330" y="869"/>
                  </a:lnTo>
                  <a:lnTo>
                    <a:pt x="322" y="863"/>
                  </a:lnTo>
                  <a:lnTo>
                    <a:pt x="316" y="858"/>
                  </a:lnTo>
                  <a:lnTo>
                    <a:pt x="309" y="850"/>
                  </a:lnTo>
                  <a:lnTo>
                    <a:pt x="305" y="843"/>
                  </a:lnTo>
                  <a:lnTo>
                    <a:pt x="302" y="835"/>
                  </a:lnTo>
                  <a:lnTo>
                    <a:pt x="302" y="828"/>
                  </a:lnTo>
                  <a:lnTo>
                    <a:pt x="302" y="452"/>
                  </a:lnTo>
                  <a:lnTo>
                    <a:pt x="418" y="452"/>
                  </a:lnTo>
                  <a:lnTo>
                    <a:pt x="418" y="467"/>
                  </a:lnTo>
                  <a:lnTo>
                    <a:pt x="418" y="470"/>
                  </a:lnTo>
                  <a:lnTo>
                    <a:pt x="419" y="473"/>
                  </a:lnTo>
                  <a:lnTo>
                    <a:pt x="421" y="475"/>
                  </a:lnTo>
                  <a:lnTo>
                    <a:pt x="422" y="477"/>
                  </a:lnTo>
                  <a:lnTo>
                    <a:pt x="424" y="479"/>
                  </a:lnTo>
                  <a:lnTo>
                    <a:pt x="427" y="481"/>
                  </a:lnTo>
                  <a:lnTo>
                    <a:pt x="429" y="482"/>
                  </a:lnTo>
                  <a:lnTo>
                    <a:pt x="433" y="482"/>
                  </a:lnTo>
                  <a:lnTo>
                    <a:pt x="437" y="482"/>
                  </a:lnTo>
                  <a:lnTo>
                    <a:pt x="512" y="482"/>
                  </a:lnTo>
                  <a:lnTo>
                    <a:pt x="783" y="482"/>
                  </a:lnTo>
                  <a:lnTo>
                    <a:pt x="783" y="542"/>
                  </a:lnTo>
                  <a:lnTo>
                    <a:pt x="407" y="542"/>
                  </a:lnTo>
                  <a:lnTo>
                    <a:pt x="404" y="542"/>
                  </a:lnTo>
                  <a:lnTo>
                    <a:pt x="400" y="543"/>
                  </a:lnTo>
                  <a:lnTo>
                    <a:pt x="398" y="545"/>
                  </a:lnTo>
                  <a:lnTo>
                    <a:pt x="396" y="547"/>
                  </a:lnTo>
                  <a:lnTo>
                    <a:pt x="394" y="549"/>
                  </a:lnTo>
                  <a:lnTo>
                    <a:pt x="393" y="551"/>
                  </a:lnTo>
                  <a:lnTo>
                    <a:pt x="392" y="554"/>
                  </a:lnTo>
                  <a:lnTo>
                    <a:pt x="392" y="557"/>
                  </a:lnTo>
                  <a:close/>
                  <a:moveTo>
                    <a:pt x="140" y="452"/>
                  </a:moveTo>
                  <a:lnTo>
                    <a:pt x="144" y="443"/>
                  </a:lnTo>
                  <a:lnTo>
                    <a:pt x="148" y="434"/>
                  </a:lnTo>
                  <a:lnTo>
                    <a:pt x="151" y="425"/>
                  </a:lnTo>
                  <a:lnTo>
                    <a:pt x="151" y="414"/>
                  </a:lnTo>
                  <a:lnTo>
                    <a:pt x="151" y="180"/>
                  </a:lnTo>
                  <a:lnTo>
                    <a:pt x="602" y="180"/>
                  </a:lnTo>
                  <a:lnTo>
                    <a:pt x="602" y="378"/>
                  </a:lnTo>
                  <a:lnTo>
                    <a:pt x="603" y="385"/>
                  </a:lnTo>
                  <a:lnTo>
                    <a:pt x="602" y="393"/>
                  </a:lnTo>
                  <a:lnTo>
                    <a:pt x="602" y="399"/>
                  </a:lnTo>
                  <a:lnTo>
                    <a:pt x="600" y="405"/>
                  </a:lnTo>
                  <a:lnTo>
                    <a:pt x="598" y="412"/>
                  </a:lnTo>
                  <a:lnTo>
                    <a:pt x="596" y="417"/>
                  </a:lnTo>
                  <a:lnTo>
                    <a:pt x="592" y="423"/>
                  </a:lnTo>
                  <a:lnTo>
                    <a:pt x="588" y="427"/>
                  </a:lnTo>
                  <a:lnTo>
                    <a:pt x="582" y="432"/>
                  </a:lnTo>
                  <a:lnTo>
                    <a:pt x="574" y="438"/>
                  </a:lnTo>
                  <a:lnTo>
                    <a:pt x="567" y="442"/>
                  </a:lnTo>
                  <a:lnTo>
                    <a:pt x="557" y="445"/>
                  </a:lnTo>
                  <a:lnTo>
                    <a:pt x="547" y="448"/>
                  </a:lnTo>
                  <a:lnTo>
                    <a:pt x="537" y="449"/>
                  </a:lnTo>
                  <a:lnTo>
                    <a:pt x="525" y="452"/>
                  </a:lnTo>
                  <a:lnTo>
                    <a:pt x="512" y="452"/>
                  </a:lnTo>
                  <a:lnTo>
                    <a:pt x="448" y="452"/>
                  </a:lnTo>
                  <a:lnTo>
                    <a:pt x="448" y="437"/>
                  </a:lnTo>
                  <a:lnTo>
                    <a:pt x="448" y="433"/>
                  </a:lnTo>
                  <a:lnTo>
                    <a:pt x="447" y="431"/>
                  </a:lnTo>
                  <a:lnTo>
                    <a:pt x="446" y="428"/>
                  </a:lnTo>
                  <a:lnTo>
                    <a:pt x="443" y="426"/>
                  </a:lnTo>
                  <a:lnTo>
                    <a:pt x="441" y="424"/>
                  </a:lnTo>
                  <a:lnTo>
                    <a:pt x="439" y="423"/>
                  </a:lnTo>
                  <a:lnTo>
                    <a:pt x="436" y="422"/>
                  </a:lnTo>
                  <a:lnTo>
                    <a:pt x="433" y="422"/>
                  </a:lnTo>
                  <a:lnTo>
                    <a:pt x="286" y="422"/>
                  </a:lnTo>
                  <a:lnTo>
                    <a:pt x="284" y="422"/>
                  </a:lnTo>
                  <a:lnTo>
                    <a:pt x="280" y="423"/>
                  </a:lnTo>
                  <a:lnTo>
                    <a:pt x="278" y="424"/>
                  </a:lnTo>
                  <a:lnTo>
                    <a:pt x="276" y="426"/>
                  </a:lnTo>
                  <a:lnTo>
                    <a:pt x="274" y="428"/>
                  </a:lnTo>
                  <a:lnTo>
                    <a:pt x="273" y="431"/>
                  </a:lnTo>
                  <a:lnTo>
                    <a:pt x="272" y="433"/>
                  </a:lnTo>
                  <a:lnTo>
                    <a:pt x="271" y="437"/>
                  </a:lnTo>
                  <a:lnTo>
                    <a:pt x="271" y="452"/>
                  </a:lnTo>
                  <a:lnTo>
                    <a:pt x="140" y="452"/>
                  </a:lnTo>
                  <a:close/>
                  <a:moveTo>
                    <a:pt x="30" y="414"/>
                  </a:moveTo>
                  <a:lnTo>
                    <a:pt x="30" y="30"/>
                  </a:lnTo>
                  <a:lnTo>
                    <a:pt x="181" y="30"/>
                  </a:lnTo>
                  <a:lnTo>
                    <a:pt x="181" y="75"/>
                  </a:lnTo>
                  <a:lnTo>
                    <a:pt x="182" y="78"/>
                  </a:lnTo>
                  <a:lnTo>
                    <a:pt x="182" y="82"/>
                  </a:lnTo>
                  <a:lnTo>
                    <a:pt x="184" y="84"/>
                  </a:lnTo>
                  <a:lnTo>
                    <a:pt x="185" y="86"/>
                  </a:lnTo>
                  <a:lnTo>
                    <a:pt x="187" y="88"/>
                  </a:lnTo>
                  <a:lnTo>
                    <a:pt x="190" y="89"/>
                  </a:lnTo>
                  <a:lnTo>
                    <a:pt x="192" y="90"/>
                  </a:lnTo>
                  <a:lnTo>
                    <a:pt x="196" y="90"/>
                  </a:lnTo>
                  <a:lnTo>
                    <a:pt x="542" y="90"/>
                  </a:lnTo>
                  <a:lnTo>
                    <a:pt x="542" y="150"/>
                  </a:lnTo>
                  <a:lnTo>
                    <a:pt x="136" y="150"/>
                  </a:lnTo>
                  <a:lnTo>
                    <a:pt x="132" y="151"/>
                  </a:lnTo>
                  <a:lnTo>
                    <a:pt x="130" y="151"/>
                  </a:lnTo>
                  <a:lnTo>
                    <a:pt x="127" y="153"/>
                  </a:lnTo>
                  <a:lnTo>
                    <a:pt x="125" y="156"/>
                  </a:lnTo>
                  <a:lnTo>
                    <a:pt x="124" y="158"/>
                  </a:lnTo>
                  <a:lnTo>
                    <a:pt x="122" y="160"/>
                  </a:lnTo>
                  <a:lnTo>
                    <a:pt x="121" y="163"/>
                  </a:lnTo>
                  <a:lnTo>
                    <a:pt x="121" y="165"/>
                  </a:lnTo>
                  <a:lnTo>
                    <a:pt x="121" y="414"/>
                  </a:lnTo>
                  <a:lnTo>
                    <a:pt x="121" y="419"/>
                  </a:lnTo>
                  <a:lnTo>
                    <a:pt x="119" y="425"/>
                  </a:lnTo>
                  <a:lnTo>
                    <a:pt x="118" y="430"/>
                  </a:lnTo>
                  <a:lnTo>
                    <a:pt x="116" y="433"/>
                  </a:lnTo>
                  <a:lnTo>
                    <a:pt x="114" y="438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04" y="445"/>
                  </a:lnTo>
                  <a:lnTo>
                    <a:pt x="97" y="448"/>
                  </a:lnTo>
                  <a:lnTo>
                    <a:pt x="89" y="450"/>
                  </a:lnTo>
                  <a:lnTo>
                    <a:pt x="82" y="452"/>
                  </a:lnTo>
                  <a:lnTo>
                    <a:pt x="76" y="452"/>
                  </a:lnTo>
                  <a:lnTo>
                    <a:pt x="69" y="452"/>
                  </a:lnTo>
                  <a:lnTo>
                    <a:pt x="62" y="450"/>
                  </a:lnTo>
                  <a:lnTo>
                    <a:pt x="54" y="448"/>
                  </a:lnTo>
                  <a:lnTo>
                    <a:pt x="47" y="445"/>
                  </a:lnTo>
                  <a:lnTo>
                    <a:pt x="43" y="443"/>
                  </a:lnTo>
                  <a:lnTo>
                    <a:pt x="40" y="441"/>
                  </a:lnTo>
                  <a:lnTo>
                    <a:pt x="38" y="438"/>
                  </a:lnTo>
                  <a:lnTo>
                    <a:pt x="35" y="433"/>
                  </a:lnTo>
                  <a:lnTo>
                    <a:pt x="33" y="430"/>
                  </a:lnTo>
                  <a:lnTo>
                    <a:pt x="32" y="425"/>
                  </a:lnTo>
                  <a:lnTo>
                    <a:pt x="30" y="419"/>
                  </a:lnTo>
                  <a:lnTo>
                    <a:pt x="30" y="414"/>
                  </a:lnTo>
                  <a:close/>
                  <a:moveTo>
                    <a:pt x="888" y="542"/>
                  </a:moveTo>
                  <a:lnTo>
                    <a:pt x="813" y="542"/>
                  </a:lnTo>
                  <a:lnTo>
                    <a:pt x="813" y="467"/>
                  </a:lnTo>
                  <a:lnTo>
                    <a:pt x="812" y="463"/>
                  </a:lnTo>
                  <a:lnTo>
                    <a:pt x="812" y="461"/>
                  </a:lnTo>
                  <a:lnTo>
                    <a:pt x="810" y="458"/>
                  </a:lnTo>
                  <a:lnTo>
                    <a:pt x="809" y="456"/>
                  </a:lnTo>
                  <a:lnTo>
                    <a:pt x="807" y="455"/>
                  </a:lnTo>
                  <a:lnTo>
                    <a:pt x="804" y="453"/>
                  </a:lnTo>
                  <a:lnTo>
                    <a:pt x="802" y="452"/>
                  </a:lnTo>
                  <a:lnTo>
                    <a:pt x="798" y="452"/>
                  </a:lnTo>
                  <a:lnTo>
                    <a:pt x="605" y="452"/>
                  </a:lnTo>
                  <a:lnTo>
                    <a:pt x="607" y="449"/>
                  </a:lnTo>
                  <a:lnTo>
                    <a:pt x="611" y="447"/>
                  </a:lnTo>
                  <a:lnTo>
                    <a:pt x="616" y="440"/>
                  </a:lnTo>
                  <a:lnTo>
                    <a:pt x="621" y="432"/>
                  </a:lnTo>
                  <a:lnTo>
                    <a:pt x="626" y="424"/>
                  </a:lnTo>
                  <a:lnTo>
                    <a:pt x="629" y="415"/>
                  </a:lnTo>
                  <a:lnTo>
                    <a:pt x="631" y="405"/>
                  </a:lnTo>
                  <a:lnTo>
                    <a:pt x="632" y="396"/>
                  </a:lnTo>
                  <a:lnTo>
                    <a:pt x="633" y="386"/>
                  </a:lnTo>
                  <a:lnTo>
                    <a:pt x="632" y="376"/>
                  </a:lnTo>
                  <a:lnTo>
                    <a:pt x="632" y="165"/>
                  </a:lnTo>
                  <a:lnTo>
                    <a:pt x="632" y="163"/>
                  </a:lnTo>
                  <a:lnTo>
                    <a:pt x="631" y="160"/>
                  </a:lnTo>
                  <a:lnTo>
                    <a:pt x="630" y="158"/>
                  </a:lnTo>
                  <a:lnTo>
                    <a:pt x="628" y="156"/>
                  </a:lnTo>
                  <a:lnTo>
                    <a:pt x="626" y="153"/>
                  </a:lnTo>
                  <a:lnTo>
                    <a:pt x="624" y="151"/>
                  </a:lnTo>
                  <a:lnTo>
                    <a:pt x="620" y="151"/>
                  </a:lnTo>
                  <a:lnTo>
                    <a:pt x="617" y="150"/>
                  </a:lnTo>
                  <a:lnTo>
                    <a:pt x="572" y="150"/>
                  </a:lnTo>
                  <a:lnTo>
                    <a:pt x="572" y="75"/>
                  </a:lnTo>
                  <a:lnTo>
                    <a:pt x="572" y="72"/>
                  </a:lnTo>
                  <a:lnTo>
                    <a:pt x="571" y="70"/>
                  </a:lnTo>
                  <a:lnTo>
                    <a:pt x="570" y="68"/>
                  </a:lnTo>
                  <a:lnTo>
                    <a:pt x="568" y="64"/>
                  </a:lnTo>
                  <a:lnTo>
                    <a:pt x="566" y="63"/>
                  </a:lnTo>
                  <a:lnTo>
                    <a:pt x="563" y="61"/>
                  </a:lnTo>
                  <a:lnTo>
                    <a:pt x="560" y="60"/>
                  </a:lnTo>
                  <a:lnTo>
                    <a:pt x="557" y="60"/>
                  </a:lnTo>
                  <a:lnTo>
                    <a:pt x="211" y="60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10"/>
                  </a:lnTo>
                  <a:lnTo>
                    <a:pt x="208" y="7"/>
                  </a:lnTo>
                  <a:lnTo>
                    <a:pt x="206" y="4"/>
                  </a:lnTo>
                  <a:lnTo>
                    <a:pt x="204" y="2"/>
                  </a:lnTo>
                  <a:lnTo>
                    <a:pt x="202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14"/>
                  </a:lnTo>
                  <a:lnTo>
                    <a:pt x="0" y="422"/>
                  </a:lnTo>
                  <a:lnTo>
                    <a:pt x="2" y="429"/>
                  </a:lnTo>
                  <a:lnTo>
                    <a:pt x="4" y="435"/>
                  </a:lnTo>
                  <a:lnTo>
                    <a:pt x="6" y="442"/>
                  </a:lnTo>
                  <a:lnTo>
                    <a:pt x="9" y="448"/>
                  </a:lnTo>
                  <a:lnTo>
                    <a:pt x="12" y="454"/>
                  </a:lnTo>
                  <a:lnTo>
                    <a:pt x="17" y="459"/>
                  </a:lnTo>
                  <a:lnTo>
                    <a:pt x="21" y="463"/>
                  </a:lnTo>
                  <a:lnTo>
                    <a:pt x="26" y="468"/>
                  </a:lnTo>
                  <a:lnTo>
                    <a:pt x="32" y="471"/>
                  </a:lnTo>
                  <a:lnTo>
                    <a:pt x="38" y="474"/>
                  </a:lnTo>
                  <a:lnTo>
                    <a:pt x="44" y="477"/>
                  </a:lnTo>
                  <a:lnTo>
                    <a:pt x="52" y="479"/>
                  </a:lnTo>
                  <a:lnTo>
                    <a:pt x="59" y="481"/>
                  </a:lnTo>
                  <a:lnTo>
                    <a:pt x="67" y="482"/>
                  </a:lnTo>
                  <a:lnTo>
                    <a:pt x="76" y="482"/>
                  </a:lnTo>
                  <a:lnTo>
                    <a:pt x="271" y="482"/>
                  </a:lnTo>
                  <a:lnTo>
                    <a:pt x="271" y="828"/>
                  </a:lnTo>
                  <a:lnTo>
                    <a:pt x="272" y="834"/>
                  </a:lnTo>
                  <a:lnTo>
                    <a:pt x="273" y="841"/>
                  </a:lnTo>
                  <a:lnTo>
                    <a:pt x="275" y="847"/>
                  </a:lnTo>
                  <a:lnTo>
                    <a:pt x="277" y="854"/>
                  </a:lnTo>
                  <a:lnTo>
                    <a:pt x="280" y="860"/>
                  </a:lnTo>
                  <a:lnTo>
                    <a:pt x="285" y="867"/>
                  </a:lnTo>
                  <a:lnTo>
                    <a:pt x="289" y="873"/>
                  </a:lnTo>
                  <a:lnTo>
                    <a:pt x="293" y="878"/>
                  </a:lnTo>
                  <a:lnTo>
                    <a:pt x="299" y="884"/>
                  </a:lnTo>
                  <a:lnTo>
                    <a:pt x="305" y="888"/>
                  </a:lnTo>
                  <a:lnTo>
                    <a:pt x="311" y="892"/>
                  </a:lnTo>
                  <a:lnTo>
                    <a:pt x="318" y="897"/>
                  </a:lnTo>
                  <a:lnTo>
                    <a:pt x="324" y="899"/>
                  </a:lnTo>
                  <a:lnTo>
                    <a:pt x="332" y="901"/>
                  </a:lnTo>
                  <a:lnTo>
                    <a:pt x="339" y="903"/>
                  </a:lnTo>
                  <a:lnTo>
                    <a:pt x="347" y="903"/>
                  </a:lnTo>
                  <a:lnTo>
                    <a:pt x="775" y="903"/>
                  </a:lnTo>
                  <a:lnTo>
                    <a:pt x="788" y="902"/>
                  </a:lnTo>
                  <a:lnTo>
                    <a:pt x="802" y="901"/>
                  </a:lnTo>
                  <a:lnTo>
                    <a:pt x="813" y="898"/>
                  </a:lnTo>
                  <a:lnTo>
                    <a:pt x="825" y="894"/>
                  </a:lnTo>
                  <a:lnTo>
                    <a:pt x="837" y="889"/>
                  </a:lnTo>
                  <a:lnTo>
                    <a:pt x="848" y="883"/>
                  </a:lnTo>
                  <a:lnTo>
                    <a:pt x="857" y="876"/>
                  </a:lnTo>
                  <a:lnTo>
                    <a:pt x="867" y="869"/>
                  </a:lnTo>
                  <a:lnTo>
                    <a:pt x="875" y="860"/>
                  </a:lnTo>
                  <a:lnTo>
                    <a:pt x="882" y="852"/>
                  </a:lnTo>
                  <a:lnTo>
                    <a:pt x="888" y="841"/>
                  </a:lnTo>
                  <a:lnTo>
                    <a:pt x="894" y="830"/>
                  </a:lnTo>
                  <a:lnTo>
                    <a:pt x="898" y="819"/>
                  </a:lnTo>
                  <a:lnTo>
                    <a:pt x="901" y="808"/>
                  </a:lnTo>
                  <a:lnTo>
                    <a:pt x="902" y="796"/>
                  </a:lnTo>
                  <a:lnTo>
                    <a:pt x="903" y="783"/>
                  </a:lnTo>
                  <a:lnTo>
                    <a:pt x="903" y="557"/>
                  </a:lnTo>
                  <a:lnTo>
                    <a:pt x="903" y="554"/>
                  </a:lnTo>
                  <a:lnTo>
                    <a:pt x="902" y="551"/>
                  </a:lnTo>
                  <a:lnTo>
                    <a:pt x="901" y="549"/>
                  </a:lnTo>
                  <a:lnTo>
                    <a:pt x="899" y="547"/>
                  </a:lnTo>
                  <a:lnTo>
                    <a:pt x="897" y="545"/>
                  </a:lnTo>
                  <a:lnTo>
                    <a:pt x="894" y="543"/>
                  </a:lnTo>
                  <a:lnTo>
                    <a:pt x="892" y="542"/>
                  </a:lnTo>
                  <a:lnTo>
                    <a:pt x="888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69" name="Freeform 12">
              <a:extLst>
                <a:ext uri="{FF2B5EF4-FFF2-40B4-BE49-F238E27FC236}">
                  <a16:creationId xmlns:a16="http://schemas.microsoft.com/office/drawing/2014/main" id="{E99170BD-A65F-1714-62DD-C8F636E03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263" y="2125663"/>
              <a:ext cx="61913" cy="95250"/>
            </a:xfrm>
            <a:custGeom>
              <a:avLst/>
              <a:gdLst>
                <a:gd name="T0" fmla="*/ 194 w 196"/>
                <a:gd name="T1" fmla="*/ 202 h 301"/>
                <a:gd name="T2" fmla="*/ 116 w 196"/>
                <a:gd name="T3" fmla="*/ 125 h 301"/>
                <a:gd name="T4" fmla="*/ 111 w 196"/>
                <a:gd name="T5" fmla="*/ 122 h 301"/>
                <a:gd name="T6" fmla="*/ 106 w 196"/>
                <a:gd name="T7" fmla="*/ 121 h 301"/>
                <a:gd name="T8" fmla="*/ 100 w 196"/>
                <a:gd name="T9" fmla="*/ 122 h 301"/>
                <a:gd name="T10" fmla="*/ 95 w 196"/>
                <a:gd name="T11" fmla="*/ 125 h 301"/>
                <a:gd name="T12" fmla="*/ 92 w 196"/>
                <a:gd name="T13" fmla="*/ 130 h 301"/>
                <a:gd name="T14" fmla="*/ 91 w 196"/>
                <a:gd name="T15" fmla="*/ 136 h 301"/>
                <a:gd name="T16" fmla="*/ 92 w 196"/>
                <a:gd name="T17" fmla="*/ 141 h 301"/>
                <a:gd name="T18" fmla="*/ 95 w 196"/>
                <a:gd name="T19" fmla="*/ 146 h 301"/>
                <a:gd name="T20" fmla="*/ 76 w 196"/>
                <a:gd name="T21" fmla="*/ 196 h 301"/>
                <a:gd name="T22" fmla="*/ 58 w 196"/>
                <a:gd name="T23" fmla="*/ 192 h 301"/>
                <a:gd name="T24" fmla="*/ 44 w 196"/>
                <a:gd name="T25" fmla="*/ 182 h 301"/>
                <a:gd name="T26" fmla="*/ 34 w 196"/>
                <a:gd name="T27" fmla="*/ 168 h 301"/>
                <a:gd name="T28" fmla="*/ 30 w 196"/>
                <a:gd name="T29" fmla="*/ 153 h 301"/>
                <a:gd name="T30" fmla="*/ 30 w 196"/>
                <a:gd name="T31" fmla="*/ 13 h 301"/>
                <a:gd name="T32" fmla="*/ 28 w 196"/>
                <a:gd name="T33" fmla="*/ 7 h 301"/>
                <a:gd name="T34" fmla="*/ 24 w 196"/>
                <a:gd name="T35" fmla="*/ 3 h 301"/>
                <a:gd name="T36" fmla="*/ 19 w 196"/>
                <a:gd name="T37" fmla="*/ 1 h 301"/>
                <a:gd name="T38" fmla="*/ 12 w 196"/>
                <a:gd name="T39" fmla="*/ 1 h 301"/>
                <a:gd name="T40" fmla="*/ 7 w 196"/>
                <a:gd name="T41" fmla="*/ 3 h 301"/>
                <a:gd name="T42" fmla="*/ 3 w 196"/>
                <a:gd name="T43" fmla="*/ 7 h 301"/>
                <a:gd name="T44" fmla="*/ 0 w 196"/>
                <a:gd name="T45" fmla="*/ 13 h 301"/>
                <a:gd name="T46" fmla="*/ 0 w 196"/>
                <a:gd name="T47" fmla="*/ 153 h 301"/>
                <a:gd name="T48" fmla="*/ 2 w 196"/>
                <a:gd name="T49" fmla="*/ 167 h 301"/>
                <a:gd name="T50" fmla="*/ 7 w 196"/>
                <a:gd name="T51" fmla="*/ 181 h 301"/>
                <a:gd name="T52" fmla="*/ 14 w 196"/>
                <a:gd name="T53" fmla="*/ 193 h 301"/>
                <a:gd name="T54" fmla="*/ 23 w 196"/>
                <a:gd name="T55" fmla="*/ 203 h 301"/>
                <a:gd name="T56" fmla="*/ 35 w 196"/>
                <a:gd name="T57" fmla="*/ 213 h 301"/>
                <a:gd name="T58" fmla="*/ 48 w 196"/>
                <a:gd name="T59" fmla="*/ 220 h 301"/>
                <a:gd name="T60" fmla="*/ 62 w 196"/>
                <a:gd name="T61" fmla="*/ 224 h 301"/>
                <a:gd name="T62" fmla="*/ 76 w 196"/>
                <a:gd name="T63" fmla="*/ 226 h 301"/>
                <a:gd name="T64" fmla="*/ 95 w 196"/>
                <a:gd name="T65" fmla="*/ 275 h 301"/>
                <a:gd name="T66" fmla="*/ 92 w 196"/>
                <a:gd name="T67" fmla="*/ 281 h 301"/>
                <a:gd name="T68" fmla="*/ 91 w 196"/>
                <a:gd name="T69" fmla="*/ 286 h 301"/>
                <a:gd name="T70" fmla="*/ 92 w 196"/>
                <a:gd name="T71" fmla="*/ 292 h 301"/>
                <a:gd name="T72" fmla="*/ 95 w 196"/>
                <a:gd name="T73" fmla="*/ 297 h 301"/>
                <a:gd name="T74" fmla="*/ 100 w 196"/>
                <a:gd name="T75" fmla="*/ 300 h 301"/>
                <a:gd name="T76" fmla="*/ 106 w 196"/>
                <a:gd name="T77" fmla="*/ 301 h 301"/>
                <a:gd name="T78" fmla="*/ 111 w 196"/>
                <a:gd name="T79" fmla="*/ 300 h 301"/>
                <a:gd name="T80" fmla="*/ 116 w 196"/>
                <a:gd name="T81" fmla="*/ 297 h 301"/>
                <a:gd name="T82" fmla="*/ 194 w 196"/>
                <a:gd name="T83" fmla="*/ 220 h 301"/>
                <a:gd name="T84" fmla="*/ 196 w 196"/>
                <a:gd name="T85" fmla="*/ 214 h 301"/>
                <a:gd name="T86" fmla="*/ 196 w 196"/>
                <a:gd name="T87" fmla="*/ 20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6" h="301">
                  <a:moveTo>
                    <a:pt x="195" y="207"/>
                  </a:moveTo>
                  <a:lnTo>
                    <a:pt x="194" y="202"/>
                  </a:lnTo>
                  <a:lnTo>
                    <a:pt x="191" y="200"/>
                  </a:lnTo>
                  <a:lnTo>
                    <a:pt x="116" y="125"/>
                  </a:lnTo>
                  <a:lnTo>
                    <a:pt x="114" y="123"/>
                  </a:lnTo>
                  <a:lnTo>
                    <a:pt x="111" y="122"/>
                  </a:lnTo>
                  <a:lnTo>
                    <a:pt x="109" y="121"/>
                  </a:lnTo>
                  <a:lnTo>
                    <a:pt x="106" y="121"/>
                  </a:lnTo>
                  <a:lnTo>
                    <a:pt x="102" y="121"/>
                  </a:lnTo>
                  <a:lnTo>
                    <a:pt x="100" y="122"/>
                  </a:lnTo>
                  <a:lnTo>
                    <a:pt x="97" y="123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2" y="130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2" y="141"/>
                  </a:lnTo>
                  <a:lnTo>
                    <a:pt x="93" y="144"/>
                  </a:lnTo>
                  <a:lnTo>
                    <a:pt x="95" y="146"/>
                  </a:lnTo>
                  <a:lnTo>
                    <a:pt x="144" y="196"/>
                  </a:lnTo>
                  <a:lnTo>
                    <a:pt x="76" y="196"/>
                  </a:lnTo>
                  <a:lnTo>
                    <a:pt x="67" y="195"/>
                  </a:lnTo>
                  <a:lnTo>
                    <a:pt x="58" y="192"/>
                  </a:lnTo>
                  <a:lnTo>
                    <a:pt x="51" y="187"/>
                  </a:lnTo>
                  <a:lnTo>
                    <a:pt x="44" y="182"/>
                  </a:lnTo>
                  <a:lnTo>
                    <a:pt x="38" y="176"/>
                  </a:lnTo>
                  <a:lnTo>
                    <a:pt x="34" y="168"/>
                  </a:lnTo>
                  <a:lnTo>
                    <a:pt x="32" y="161"/>
                  </a:lnTo>
                  <a:lnTo>
                    <a:pt x="30" y="153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53"/>
                  </a:lnTo>
                  <a:lnTo>
                    <a:pt x="0" y="161"/>
                  </a:lnTo>
                  <a:lnTo>
                    <a:pt x="2" y="167"/>
                  </a:lnTo>
                  <a:lnTo>
                    <a:pt x="4" y="174"/>
                  </a:lnTo>
                  <a:lnTo>
                    <a:pt x="7" y="181"/>
                  </a:lnTo>
                  <a:lnTo>
                    <a:pt x="10" y="187"/>
                  </a:lnTo>
                  <a:lnTo>
                    <a:pt x="14" y="193"/>
                  </a:lnTo>
                  <a:lnTo>
                    <a:pt x="19" y="198"/>
                  </a:lnTo>
                  <a:lnTo>
                    <a:pt x="23" y="203"/>
                  </a:lnTo>
                  <a:lnTo>
                    <a:pt x="29" y="209"/>
                  </a:lnTo>
                  <a:lnTo>
                    <a:pt x="35" y="213"/>
                  </a:lnTo>
                  <a:lnTo>
                    <a:pt x="41" y="216"/>
                  </a:lnTo>
                  <a:lnTo>
                    <a:pt x="48" y="220"/>
                  </a:lnTo>
                  <a:lnTo>
                    <a:pt x="54" y="223"/>
                  </a:lnTo>
                  <a:lnTo>
                    <a:pt x="62" y="224"/>
                  </a:lnTo>
                  <a:lnTo>
                    <a:pt x="68" y="225"/>
                  </a:lnTo>
                  <a:lnTo>
                    <a:pt x="76" y="226"/>
                  </a:lnTo>
                  <a:lnTo>
                    <a:pt x="144" y="226"/>
                  </a:lnTo>
                  <a:lnTo>
                    <a:pt x="95" y="275"/>
                  </a:lnTo>
                  <a:lnTo>
                    <a:pt x="93" y="277"/>
                  </a:lnTo>
                  <a:lnTo>
                    <a:pt x="92" y="281"/>
                  </a:lnTo>
                  <a:lnTo>
                    <a:pt x="91" y="284"/>
                  </a:lnTo>
                  <a:lnTo>
                    <a:pt x="91" y="286"/>
                  </a:lnTo>
                  <a:lnTo>
                    <a:pt x="91" y="289"/>
                  </a:lnTo>
                  <a:lnTo>
                    <a:pt x="92" y="292"/>
                  </a:lnTo>
                  <a:lnTo>
                    <a:pt x="93" y="295"/>
                  </a:lnTo>
                  <a:lnTo>
                    <a:pt x="95" y="297"/>
                  </a:lnTo>
                  <a:lnTo>
                    <a:pt x="97" y="299"/>
                  </a:lnTo>
                  <a:lnTo>
                    <a:pt x="100" y="300"/>
                  </a:lnTo>
                  <a:lnTo>
                    <a:pt x="102" y="301"/>
                  </a:lnTo>
                  <a:lnTo>
                    <a:pt x="106" y="301"/>
                  </a:lnTo>
                  <a:lnTo>
                    <a:pt x="109" y="301"/>
                  </a:lnTo>
                  <a:lnTo>
                    <a:pt x="111" y="300"/>
                  </a:lnTo>
                  <a:lnTo>
                    <a:pt x="114" y="299"/>
                  </a:lnTo>
                  <a:lnTo>
                    <a:pt x="116" y="297"/>
                  </a:lnTo>
                  <a:lnTo>
                    <a:pt x="191" y="222"/>
                  </a:lnTo>
                  <a:lnTo>
                    <a:pt x="194" y="220"/>
                  </a:lnTo>
                  <a:lnTo>
                    <a:pt x="195" y="216"/>
                  </a:lnTo>
                  <a:lnTo>
                    <a:pt x="196" y="214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5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:a16="http://schemas.microsoft.com/office/drawing/2014/main" id="{09295CD3-E2B0-6ACE-ECE6-5BF86097DA8E}"/>
              </a:ext>
            </a:extLst>
          </p:cNvPr>
          <p:cNvSpPr/>
          <p:nvPr/>
        </p:nvSpPr>
        <p:spPr>
          <a:xfrm>
            <a:off x="4323941" y="160925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3600" dirty="0">
                <a:solidFill>
                  <a:prstClr val="white"/>
                </a:solidFill>
                <a:latin typeface="Calibri Light"/>
              </a:rPr>
              <a:t>01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2437E81-F868-9E4E-D89C-C7F3B6B7475E}"/>
              </a:ext>
            </a:extLst>
          </p:cNvPr>
          <p:cNvSpPr/>
          <p:nvPr/>
        </p:nvSpPr>
        <p:spPr>
          <a:xfrm>
            <a:off x="4323941" y="2674598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3600" dirty="0">
                <a:solidFill>
                  <a:prstClr val="white"/>
                </a:solidFill>
                <a:latin typeface="Calibri Light"/>
              </a:rPr>
              <a:t>02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B0C89D9-1C3D-8855-A3AD-93934A55B97C}"/>
              </a:ext>
            </a:extLst>
          </p:cNvPr>
          <p:cNvSpPr/>
          <p:nvPr/>
        </p:nvSpPr>
        <p:spPr>
          <a:xfrm>
            <a:off x="4323941" y="3762371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3600" dirty="0">
                <a:solidFill>
                  <a:prstClr val="white"/>
                </a:solidFill>
                <a:latin typeface="Calibri Light"/>
              </a:rPr>
              <a:t>03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6B5EA89F-6E8F-E464-3D15-481DDE85C996}"/>
              </a:ext>
            </a:extLst>
          </p:cNvPr>
          <p:cNvSpPr/>
          <p:nvPr/>
        </p:nvSpPr>
        <p:spPr>
          <a:xfrm>
            <a:off x="4323941" y="4784733"/>
            <a:ext cx="946910" cy="76095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14400"/>
            <a:r>
              <a:rPr lang="en-US" sz="3600" dirty="0">
                <a:solidFill>
                  <a:prstClr val="white"/>
                </a:solidFill>
                <a:latin typeface="Calibri Light"/>
              </a:rPr>
              <a:t>04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C36C33B8-28F4-5555-3DE7-6D66869CBA6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74447" y="1881087"/>
            <a:ext cx="2022199" cy="9387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 defTabSz="914400"/>
            <a:r>
              <a:rPr lang="en-US" sz="1100" dirty="0">
                <a:solidFill>
                  <a:prstClr val="white"/>
                </a:solidFill>
                <a:latin typeface="Calibri Light"/>
              </a:rPr>
              <a:t>Achieving a certain percentage of market penetration within the first three years, aiming for, let's say, 10-15% of the addressable market.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C98A1C8-7762-A2C1-14D3-8EB79D8B9F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74447" y="2948305"/>
            <a:ext cx="2022199" cy="9387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 defTabSz="914400"/>
            <a:r>
              <a:rPr lang="en-US" sz="1100" dirty="0">
                <a:solidFill>
                  <a:prstClr val="white"/>
                </a:solidFill>
                <a:latin typeface="Calibri Light"/>
              </a:rPr>
              <a:t>Engagement metrics could include user activity, time spent on the platform, completion rates of learning modules, and user feedback.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346054E-988E-6A67-2123-FA395384E3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174447" y="4195078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 defTabSz="914400"/>
            <a:r>
              <a:rPr lang="en-US" sz="1100" dirty="0">
                <a:solidFill>
                  <a:prstClr val="white"/>
                </a:solidFill>
                <a:latin typeface="Calibri Light"/>
              </a:rPr>
              <a:t>Revenue growth should demonstrate a steady increase year over year.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92EACAC-8322-43B3-5FB4-318A74D7950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174447" y="5235860"/>
            <a:ext cx="202219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 defTabSz="914400"/>
            <a:r>
              <a:rPr lang="en-US" sz="1100" dirty="0">
                <a:solidFill>
                  <a:prstClr val="white"/>
                </a:solidFill>
                <a:latin typeface="Calibri Light"/>
              </a:rPr>
              <a:t>Customer satisfaction scores can be collected through surveys and feedback mechanisms.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8DFDC06A-864E-B793-2C0E-80C8DDD98481}"/>
              </a:ext>
            </a:extLst>
          </p:cNvPr>
          <p:cNvGrpSpPr>
            <a:grpSpLocks noChangeAspect="1"/>
          </p:cNvGrpSpPr>
          <p:nvPr/>
        </p:nvGrpSpPr>
        <p:grpSpPr>
          <a:xfrm>
            <a:off x="9552382" y="4274084"/>
            <a:ext cx="384376" cy="384376"/>
            <a:chOff x="-1100138" y="4281488"/>
            <a:chExt cx="371475" cy="371475"/>
          </a:xfrm>
          <a:solidFill>
            <a:schemeClr val="accent1"/>
          </a:solidFill>
        </p:grpSpPr>
        <p:sp>
          <p:nvSpPr>
            <p:cNvPr id="179" name="Freeform 19">
              <a:extLst>
                <a:ext uri="{FF2B5EF4-FFF2-40B4-BE49-F238E27FC236}">
                  <a16:creationId xmlns:a16="http://schemas.microsoft.com/office/drawing/2014/main" id="{A11E6BD5-1667-E07E-24FA-D490FBF74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0138" y="4313238"/>
              <a:ext cx="371475" cy="339725"/>
            </a:xfrm>
            <a:custGeom>
              <a:avLst/>
              <a:gdLst>
                <a:gd name="T0" fmla="*/ 94 w 96"/>
                <a:gd name="T1" fmla="*/ 88 h 88"/>
                <a:gd name="T2" fmla="*/ 2 w 96"/>
                <a:gd name="T3" fmla="*/ 88 h 88"/>
                <a:gd name="T4" fmla="*/ 0 w 96"/>
                <a:gd name="T5" fmla="*/ 86 h 88"/>
                <a:gd name="T6" fmla="*/ 0 w 96"/>
                <a:gd name="T7" fmla="*/ 2 h 88"/>
                <a:gd name="T8" fmla="*/ 2 w 96"/>
                <a:gd name="T9" fmla="*/ 0 h 88"/>
                <a:gd name="T10" fmla="*/ 18 w 96"/>
                <a:gd name="T11" fmla="*/ 0 h 88"/>
                <a:gd name="T12" fmla="*/ 20 w 96"/>
                <a:gd name="T13" fmla="*/ 2 h 88"/>
                <a:gd name="T14" fmla="*/ 18 w 96"/>
                <a:gd name="T15" fmla="*/ 4 h 88"/>
                <a:gd name="T16" fmla="*/ 4 w 96"/>
                <a:gd name="T17" fmla="*/ 4 h 88"/>
                <a:gd name="T18" fmla="*/ 4 w 96"/>
                <a:gd name="T19" fmla="*/ 84 h 88"/>
                <a:gd name="T20" fmla="*/ 92 w 96"/>
                <a:gd name="T21" fmla="*/ 84 h 88"/>
                <a:gd name="T22" fmla="*/ 92 w 96"/>
                <a:gd name="T23" fmla="*/ 4 h 88"/>
                <a:gd name="T24" fmla="*/ 78 w 96"/>
                <a:gd name="T25" fmla="*/ 4 h 88"/>
                <a:gd name="T26" fmla="*/ 76 w 96"/>
                <a:gd name="T27" fmla="*/ 2 h 88"/>
                <a:gd name="T28" fmla="*/ 78 w 96"/>
                <a:gd name="T29" fmla="*/ 0 h 88"/>
                <a:gd name="T30" fmla="*/ 94 w 96"/>
                <a:gd name="T31" fmla="*/ 0 h 88"/>
                <a:gd name="T32" fmla="*/ 96 w 96"/>
                <a:gd name="T33" fmla="*/ 2 h 88"/>
                <a:gd name="T34" fmla="*/ 96 w 96"/>
                <a:gd name="T35" fmla="*/ 86 h 88"/>
                <a:gd name="T36" fmla="*/ 94 w 96"/>
                <a:gd name="T3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" h="88">
                  <a:moveTo>
                    <a:pt x="94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8"/>
                    <a:pt x="0" y="87"/>
                    <a:pt x="0" y="8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7" y="4"/>
                    <a:pt x="76" y="3"/>
                    <a:pt x="76" y="2"/>
                  </a:cubicBezTo>
                  <a:cubicBezTo>
                    <a:pt x="76" y="1"/>
                    <a:pt x="77" y="0"/>
                    <a:pt x="78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87"/>
                    <a:pt x="95" y="88"/>
                    <a:pt x="94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0" name="Freeform 20">
              <a:extLst>
                <a:ext uri="{FF2B5EF4-FFF2-40B4-BE49-F238E27FC236}">
                  <a16:creationId xmlns:a16="http://schemas.microsoft.com/office/drawing/2014/main" id="{99B8305A-12C6-F101-0EA2-99CDD70556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38226" y="4281488"/>
              <a:ext cx="61913" cy="77788"/>
            </a:xfrm>
            <a:custGeom>
              <a:avLst/>
              <a:gdLst>
                <a:gd name="T0" fmla="*/ 14 w 16"/>
                <a:gd name="T1" fmla="*/ 20 h 20"/>
                <a:gd name="T2" fmla="*/ 2 w 16"/>
                <a:gd name="T3" fmla="*/ 20 h 20"/>
                <a:gd name="T4" fmla="*/ 0 w 16"/>
                <a:gd name="T5" fmla="*/ 18 h 20"/>
                <a:gd name="T6" fmla="*/ 0 w 16"/>
                <a:gd name="T7" fmla="*/ 2 h 20"/>
                <a:gd name="T8" fmla="*/ 2 w 16"/>
                <a:gd name="T9" fmla="*/ 0 h 20"/>
                <a:gd name="T10" fmla="*/ 14 w 16"/>
                <a:gd name="T11" fmla="*/ 0 h 20"/>
                <a:gd name="T12" fmla="*/ 16 w 16"/>
                <a:gd name="T13" fmla="*/ 2 h 20"/>
                <a:gd name="T14" fmla="*/ 16 w 16"/>
                <a:gd name="T15" fmla="*/ 18 h 20"/>
                <a:gd name="T16" fmla="*/ 14 w 16"/>
                <a:gd name="T17" fmla="*/ 20 h 20"/>
                <a:gd name="T18" fmla="*/ 4 w 16"/>
                <a:gd name="T19" fmla="*/ 16 h 20"/>
                <a:gd name="T20" fmla="*/ 12 w 16"/>
                <a:gd name="T21" fmla="*/ 16 h 20"/>
                <a:gd name="T22" fmla="*/ 12 w 16"/>
                <a:gd name="T23" fmla="*/ 4 h 20"/>
                <a:gd name="T24" fmla="*/ 4 w 16"/>
                <a:gd name="T25" fmla="*/ 4 h 20"/>
                <a:gd name="T26" fmla="*/ 4 w 16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0">
                  <a:moveTo>
                    <a:pt x="1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lose/>
                  <a:moveTo>
                    <a:pt x="4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1" name="Freeform 21">
              <a:extLst>
                <a:ext uri="{FF2B5EF4-FFF2-40B4-BE49-F238E27FC236}">
                  <a16:creationId xmlns:a16="http://schemas.microsoft.com/office/drawing/2014/main" id="{D3313604-508C-3D6F-FEB7-01BEA2B33C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52488" y="4281488"/>
              <a:ext cx="61913" cy="77788"/>
            </a:xfrm>
            <a:custGeom>
              <a:avLst/>
              <a:gdLst>
                <a:gd name="T0" fmla="*/ 14 w 16"/>
                <a:gd name="T1" fmla="*/ 20 h 20"/>
                <a:gd name="T2" fmla="*/ 2 w 16"/>
                <a:gd name="T3" fmla="*/ 20 h 20"/>
                <a:gd name="T4" fmla="*/ 0 w 16"/>
                <a:gd name="T5" fmla="*/ 18 h 20"/>
                <a:gd name="T6" fmla="*/ 0 w 16"/>
                <a:gd name="T7" fmla="*/ 2 h 20"/>
                <a:gd name="T8" fmla="*/ 2 w 16"/>
                <a:gd name="T9" fmla="*/ 0 h 20"/>
                <a:gd name="T10" fmla="*/ 14 w 16"/>
                <a:gd name="T11" fmla="*/ 0 h 20"/>
                <a:gd name="T12" fmla="*/ 16 w 16"/>
                <a:gd name="T13" fmla="*/ 2 h 20"/>
                <a:gd name="T14" fmla="*/ 16 w 16"/>
                <a:gd name="T15" fmla="*/ 18 h 20"/>
                <a:gd name="T16" fmla="*/ 14 w 16"/>
                <a:gd name="T17" fmla="*/ 20 h 20"/>
                <a:gd name="T18" fmla="*/ 4 w 16"/>
                <a:gd name="T19" fmla="*/ 16 h 20"/>
                <a:gd name="T20" fmla="*/ 12 w 16"/>
                <a:gd name="T21" fmla="*/ 16 h 20"/>
                <a:gd name="T22" fmla="*/ 12 w 16"/>
                <a:gd name="T23" fmla="*/ 4 h 20"/>
                <a:gd name="T24" fmla="*/ 4 w 16"/>
                <a:gd name="T25" fmla="*/ 4 h 20"/>
                <a:gd name="T26" fmla="*/ 4 w 16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0">
                  <a:moveTo>
                    <a:pt x="1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lose/>
                  <a:moveTo>
                    <a:pt x="4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2" name="Freeform 22">
              <a:extLst>
                <a:ext uri="{FF2B5EF4-FFF2-40B4-BE49-F238E27FC236}">
                  <a16:creationId xmlns:a16="http://schemas.microsoft.com/office/drawing/2014/main" id="{368CA458-CE64-B6E2-5735-3D1B5664D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2188" y="4313238"/>
              <a:ext cx="155575" cy="14288"/>
            </a:xfrm>
            <a:custGeom>
              <a:avLst/>
              <a:gdLst>
                <a:gd name="T0" fmla="*/ 38 w 40"/>
                <a:gd name="T1" fmla="*/ 4 h 4"/>
                <a:gd name="T2" fmla="*/ 2 w 40"/>
                <a:gd name="T3" fmla="*/ 4 h 4"/>
                <a:gd name="T4" fmla="*/ 0 w 40"/>
                <a:gd name="T5" fmla="*/ 2 h 4"/>
                <a:gd name="T6" fmla="*/ 2 w 40"/>
                <a:gd name="T7" fmla="*/ 0 h 4"/>
                <a:gd name="T8" fmla="*/ 38 w 40"/>
                <a:gd name="T9" fmla="*/ 0 h 4"/>
                <a:gd name="T10" fmla="*/ 40 w 40"/>
                <a:gd name="T11" fmla="*/ 2 h 4"/>
                <a:gd name="T12" fmla="*/ 38 w 4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">
                  <a:moveTo>
                    <a:pt x="3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40" y="1"/>
                    <a:pt x="40" y="2"/>
                  </a:cubicBezTo>
                  <a:cubicBezTo>
                    <a:pt x="40" y="3"/>
                    <a:pt x="39" y="4"/>
                    <a:pt x="3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3" name="Freeform 23">
              <a:extLst>
                <a:ext uri="{FF2B5EF4-FFF2-40B4-BE49-F238E27FC236}">
                  <a16:creationId xmlns:a16="http://schemas.microsoft.com/office/drawing/2014/main" id="{C5B5ADFE-4CA0-B611-F835-0DD46200D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0138" y="4389438"/>
              <a:ext cx="371475" cy="15875"/>
            </a:xfrm>
            <a:custGeom>
              <a:avLst/>
              <a:gdLst>
                <a:gd name="T0" fmla="*/ 94 w 96"/>
                <a:gd name="T1" fmla="*/ 4 h 4"/>
                <a:gd name="T2" fmla="*/ 2 w 96"/>
                <a:gd name="T3" fmla="*/ 4 h 4"/>
                <a:gd name="T4" fmla="*/ 0 w 96"/>
                <a:gd name="T5" fmla="*/ 2 h 4"/>
                <a:gd name="T6" fmla="*/ 2 w 96"/>
                <a:gd name="T7" fmla="*/ 0 h 4"/>
                <a:gd name="T8" fmla="*/ 94 w 96"/>
                <a:gd name="T9" fmla="*/ 0 h 4"/>
                <a:gd name="T10" fmla="*/ 96 w 96"/>
                <a:gd name="T11" fmla="*/ 2 h 4"/>
                <a:gd name="T12" fmla="*/ 94 w 9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4">
                  <a:moveTo>
                    <a:pt x="9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3"/>
                    <a:pt x="95" y="4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4" name="Freeform 24">
              <a:extLst>
                <a:ext uri="{FF2B5EF4-FFF2-40B4-BE49-F238E27FC236}">
                  <a16:creationId xmlns:a16="http://schemas.microsoft.com/office/drawing/2014/main" id="{595BA438-ACDB-3CCA-648D-181853FB1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2188" y="4451351"/>
              <a:ext cx="47625" cy="139700"/>
            </a:xfrm>
            <a:custGeom>
              <a:avLst/>
              <a:gdLst>
                <a:gd name="T0" fmla="*/ 10 w 12"/>
                <a:gd name="T1" fmla="*/ 36 h 36"/>
                <a:gd name="T2" fmla="*/ 8 w 12"/>
                <a:gd name="T3" fmla="*/ 34 h 36"/>
                <a:gd name="T4" fmla="*/ 8 w 12"/>
                <a:gd name="T5" fmla="*/ 7 h 36"/>
                <a:gd name="T6" fmla="*/ 3 w 12"/>
                <a:gd name="T7" fmla="*/ 11 h 36"/>
                <a:gd name="T8" fmla="*/ 1 w 12"/>
                <a:gd name="T9" fmla="*/ 11 h 36"/>
                <a:gd name="T10" fmla="*/ 1 w 12"/>
                <a:gd name="T11" fmla="*/ 9 h 36"/>
                <a:gd name="T12" fmla="*/ 9 w 12"/>
                <a:gd name="T13" fmla="*/ 1 h 36"/>
                <a:gd name="T14" fmla="*/ 11 w 12"/>
                <a:gd name="T15" fmla="*/ 0 h 36"/>
                <a:gd name="T16" fmla="*/ 12 w 12"/>
                <a:gd name="T17" fmla="*/ 2 h 36"/>
                <a:gd name="T18" fmla="*/ 12 w 12"/>
                <a:gd name="T19" fmla="*/ 34 h 36"/>
                <a:gd name="T20" fmla="*/ 10 w 12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36">
                  <a:moveTo>
                    <a:pt x="10" y="36"/>
                  </a:moveTo>
                  <a:cubicBezTo>
                    <a:pt x="9" y="36"/>
                    <a:pt x="8" y="35"/>
                    <a:pt x="8" y="34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1" y="12"/>
                    <a:pt x="1" y="11"/>
                  </a:cubicBezTo>
                  <a:cubicBezTo>
                    <a:pt x="0" y="11"/>
                    <a:pt x="0" y="9"/>
                    <a:pt x="1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2" y="0"/>
                    <a:pt x="12" y="1"/>
                    <a:pt x="12" y="2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5"/>
                    <a:pt x="11" y="36"/>
                    <a:pt x="1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5" name="Freeform 25">
              <a:extLst>
                <a:ext uri="{FF2B5EF4-FFF2-40B4-BE49-F238E27FC236}">
                  <a16:creationId xmlns:a16="http://schemas.microsoft.com/office/drawing/2014/main" id="{C6EE0EE7-1B10-E6B3-8CD4-454BC288D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2188" y="4575176"/>
              <a:ext cx="77788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6" name="Freeform 26">
              <a:extLst>
                <a:ext uri="{FF2B5EF4-FFF2-40B4-BE49-F238E27FC236}">
                  <a16:creationId xmlns:a16="http://schemas.microsoft.com/office/drawing/2014/main" id="{AC32174A-7BC4-7218-F66A-05A248E4D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2338" y="4451351"/>
              <a:ext cx="93663" cy="139700"/>
            </a:xfrm>
            <a:custGeom>
              <a:avLst/>
              <a:gdLst>
                <a:gd name="T0" fmla="*/ 10 w 24"/>
                <a:gd name="T1" fmla="*/ 36 h 36"/>
                <a:gd name="T2" fmla="*/ 9 w 24"/>
                <a:gd name="T3" fmla="*/ 36 h 36"/>
                <a:gd name="T4" fmla="*/ 8 w 24"/>
                <a:gd name="T5" fmla="*/ 33 h 36"/>
                <a:gd name="T6" fmla="*/ 19 w 24"/>
                <a:gd name="T7" fmla="*/ 4 h 36"/>
                <a:gd name="T8" fmla="*/ 4 w 24"/>
                <a:gd name="T9" fmla="*/ 4 h 36"/>
                <a:gd name="T10" fmla="*/ 4 w 24"/>
                <a:gd name="T11" fmla="*/ 6 h 36"/>
                <a:gd name="T12" fmla="*/ 2 w 24"/>
                <a:gd name="T13" fmla="*/ 8 h 36"/>
                <a:gd name="T14" fmla="*/ 0 w 24"/>
                <a:gd name="T15" fmla="*/ 6 h 36"/>
                <a:gd name="T16" fmla="*/ 0 w 24"/>
                <a:gd name="T17" fmla="*/ 2 h 36"/>
                <a:gd name="T18" fmla="*/ 2 w 24"/>
                <a:gd name="T19" fmla="*/ 0 h 36"/>
                <a:gd name="T20" fmla="*/ 22 w 24"/>
                <a:gd name="T21" fmla="*/ 0 h 36"/>
                <a:gd name="T22" fmla="*/ 24 w 24"/>
                <a:gd name="T23" fmla="*/ 1 h 36"/>
                <a:gd name="T24" fmla="*/ 24 w 24"/>
                <a:gd name="T25" fmla="*/ 3 h 36"/>
                <a:gd name="T26" fmla="*/ 12 w 24"/>
                <a:gd name="T27" fmla="*/ 35 h 36"/>
                <a:gd name="T28" fmla="*/ 10 w 24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6">
                  <a:moveTo>
                    <a:pt x="10" y="36"/>
                  </a:moveTo>
                  <a:cubicBezTo>
                    <a:pt x="10" y="36"/>
                    <a:pt x="10" y="36"/>
                    <a:pt x="9" y="36"/>
                  </a:cubicBezTo>
                  <a:cubicBezTo>
                    <a:pt x="8" y="35"/>
                    <a:pt x="8" y="34"/>
                    <a:pt x="8" y="33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1" y="36"/>
                    <a:pt x="1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  <p:sp>
          <p:nvSpPr>
            <p:cNvPr id="187" name="Freeform 27">
              <a:extLst>
                <a:ext uri="{FF2B5EF4-FFF2-40B4-BE49-F238E27FC236}">
                  <a16:creationId xmlns:a16="http://schemas.microsoft.com/office/drawing/2014/main" id="{362353B7-F179-BE8F-CDD2-EFC82366C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98526" y="4513263"/>
              <a:ext cx="61913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FF"/>
                </a:highlight>
                <a:uLnTx/>
                <a:uFillTx/>
                <a:latin typeface="Calibri"/>
              </a:endParaRP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92174F66-CB65-C71C-046C-327AAF52837E}"/>
              </a:ext>
            </a:extLst>
          </p:cNvPr>
          <p:cNvGrpSpPr/>
          <p:nvPr/>
        </p:nvGrpSpPr>
        <p:grpSpPr>
          <a:xfrm>
            <a:off x="9529958" y="2142555"/>
            <a:ext cx="398679" cy="384376"/>
            <a:chOff x="2084694" y="3456367"/>
            <a:chExt cx="298717" cy="288000"/>
          </a:xfrm>
        </p:grpSpPr>
        <p:sp>
          <p:nvSpPr>
            <p:cNvPr id="189" name="Freeform 52">
              <a:extLst>
                <a:ext uri="{FF2B5EF4-FFF2-40B4-BE49-F238E27FC236}">
                  <a16:creationId xmlns:a16="http://schemas.microsoft.com/office/drawing/2014/main" id="{72839835-AAE8-8498-23D2-0568331F8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3448" y="3586302"/>
              <a:ext cx="79033" cy="79033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0" name="Freeform 53">
              <a:extLst>
                <a:ext uri="{FF2B5EF4-FFF2-40B4-BE49-F238E27FC236}">
                  <a16:creationId xmlns:a16="http://schemas.microsoft.com/office/drawing/2014/main" id="{2015AC18-084E-2928-7EF4-A9B49760D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694" y="3651939"/>
              <a:ext cx="107163" cy="65638"/>
            </a:xfrm>
            <a:custGeom>
              <a:avLst/>
              <a:gdLst>
                <a:gd name="T0" fmla="*/ 24 w 33"/>
                <a:gd name="T1" fmla="*/ 20 h 20"/>
                <a:gd name="T2" fmla="*/ 2 w 33"/>
                <a:gd name="T3" fmla="*/ 20 h 20"/>
                <a:gd name="T4" fmla="*/ 0 w 33"/>
                <a:gd name="T5" fmla="*/ 18 h 20"/>
                <a:gd name="T6" fmla="*/ 18 w 33"/>
                <a:gd name="T7" fmla="*/ 0 h 20"/>
                <a:gd name="T8" fmla="*/ 33 w 33"/>
                <a:gd name="T9" fmla="*/ 7 h 20"/>
                <a:gd name="T10" fmla="*/ 32 w 33"/>
                <a:gd name="T11" fmla="*/ 10 h 20"/>
                <a:gd name="T12" fmla="*/ 29 w 33"/>
                <a:gd name="T13" fmla="*/ 10 h 20"/>
                <a:gd name="T14" fmla="*/ 18 w 33"/>
                <a:gd name="T15" fmla="*/ 4 h 20"/>
                <a:gd name="T16" fmla="*/ 4 w 33"/>
                <a:gd name="T17" fmla="*/ 16 h 20"/>
                <a:gd name="T18" fmla="*/ 24 w 33"/>
                <a:gd name="T19" fmla="*/ 16 h 20"/>
                <a:gd name="T20" fmla="*/ 26 w 33"/>
                <a:gd name="T21" fmla="*/ 18 h 20"/>
                <a:gd name="T22" fmla="*/ 24 w 33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0">
                  <a:moveTo>
                    <a:pt x="2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4" y="0"/>
                    <a:pt x="29" y="3"/>
                    <a:pt x="33" y="7"/>
                  </a:cubicBezTo>
                  <a:cubicBezTo>
                    <a:pt x="33" y="8"/>
                    <a:pt x="33" y="9"/>
                    <a:pt x="32" y="10"/>
                  </a:cubicBezTo>
                  <a:cubicBezTo>
                    <a:pt x="31" y="11"/>
                    <a:pt x="30" y="11"/>
                    <a:pt x="29" y="10"/>
                  </a:cubicBezTo>
                  <a:cubicBezTo>
                    <a:pt x="27" y="6"/>
                    <a:pt x="22" y="4"/>
                    <a:pt x="18" y="4"/>
                  </a:cubicBezTo>
                  <a:cubicBezTo>
                    <a:pt x="11" y="4"/>
                    <a:pt x="5" y="9"/>
                    <a:pt x="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6"/>
                    <a:pt x="26" y="17"/>
                    <a:pt x="26" y="18"/>
                  </a:cubicBezTo>
                  <a:cubicBezTo>
                    <a:pt x="26" y="19"/>
                    <a:pt x="25" y="20"/>
                    <a:pt x="24" y="20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1" name="Freeform 54">
              <a:extLst>
                <a:ext uri="{FF2B5EF4-FFF2-40B4-BE49-F238E27FC236}">
                  <a16:creationId xmlns:a16="http://schemas.microsoft.com/office/drawing/2014/main" id="{123306B6-3A6D-C2FD-5CFB-B922D0B88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5624" y="3586302"/>
              <a:ext cx="79033" cy="79033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2" name="Freeform 55">
              <a:extLst>
                <a:ext uri="{FF2B5EF4-FFF2-40B4-BE49-F238E27FC236}">
                  <a16:creationId xmlns:a16="http://schemas.microsoft.com/office/drawing/2014/main" id="{2EEA653C-1174-EBA6-949B-35832F250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248" y="3651942"/>
              <a:ext cx="107163" cy="65638"/>
            </a:xfrm>
            <a:custGeom>
              <a:avLst/>
              <a:gdLst>
                <a:gd name="T0" fmla="*/ 31 w 33"/>
                <a:gd name="T1" fmla="*/ 20 h 20"/>
                <a:gd name="T2" fmla="*/ 9 w 33"/>
                <a:gd name="T3" fmla="*/ 20 h 20"/>
                <a:gd name="T4" fmla="*/ 7 w 33"/>
                <a:gd name="T5" fmla="*/ 18 h 20"/>
                <a:gd name="T6" fmla="*/ 9 w 33"/>
                <a:gd name="T7" fmla="*/ 16 h 20"/>
                <a:gd name="T8" fmla="*/ 29 w 33"/>
                <a:gd name="T9" fmla="*/ 16 h 20"/>
                <a:gd name="T10" fmla="*/ 15 w 33"/>
                <a:gd name="T11" fmla="*/ 4 h 20"/>
                <a:gd name="T12" fmla="*/ 4 w 33"/>
                <a:gd name="T13" fmla="*/ 10 h 20"/>
                <a:gd name="T14" fmla="*/ 1 w 33"/>
                <a:gd name="T15" fmla="*/ 10 h 20"/>
                <a:gd name="T16" fmla="*/ 0 w 33"/>
                <a:gd name="T17" fmla="*/ 7 h 20"/>
                <a:gd name="T18" fmla="*/ 15 w 33"/>
                <a:gd name="T19" fmla="*/ 0 h 20"/>
                <a:gd name="T20" fmla="*/ 33 w 33"/>
                <a:gd name="T21" fmla="*/ 18 h 20"/>
                <a:gd name="T22" fmla="*/ 31 w 33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0">
                  <a:moveTo>
                    <a:pt x="31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8" y="20"/>
                    <a:pt x="7" y="19"/>
                    <a:pt x="7" y="18"/>
                  </a:cubicBezTo>
                  <a:cubicBezTo>
                    <a:pt x="7" y="17"/>
                    <a:pt x="8" y="16"/>
                    <a:pt x="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8" y="9"/>
                    <a:pt x="22" y="4"/>
                    <a:pt x="15" y="4"/>
                  </a:cubicBezTo>
                  <a:cubicBezTo>
                    <a:pt x="11" y="4"/>
                    <a:pt x="6" y="6"/>
                    <a:pt x="4" y="10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4" y="3"/>
                    <a:pt x="9" y="0"/>
                    <a:pt x="15" y="0"/>
                  </a:cubicBezTo>
                  <a:cubicBezTo>
                    <a:pt x="25" y="0"/>
                    <a:pt x="33" y="8"/>
                    <a:pt x="33" y="18"/>
                  </a:cubicBezTo>
                  <a:cubicBezTo>
                    <a:pt x="33" y="19"/>
                    <a:pt x="32" y="20"/>
                    <a:pt x="31" y="20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3" name="Freeform 56">
              <a:extLst>
                <a:ext uri="{FF2B5EF4-FFF2-40B4-BE49-F238E27FC236}">
                  <a16:creationId xmlns:a16="http://schemas.microsoft.com/office/drawing/2014/main" id="{C2655A89-2C60-FA8B-F8C5-8C9BD78ED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2481" y="3560851"/>
              <a:ext cx="103145" cy="107163"/>
            </a:xfrm>
            <a:custGeom>
              <a:avLst/>
              <a:gdLst>
                <a:gd name="T0" fmla="*/ 16 w 32"/>
                <a:gd name="T1" fmla="*/ 33 h 33"/>
                <a:gd name="T2" fmla="*/ 0 w 32"/>
                <a:gd name="T3" fmla="*/ 16 h 33"/>
                <a:gd name="T4" fmla="*/ 16 w 32"/>
                <a:gd name="T5" fmla="*/ 0 h 33"/>
                <a:gd name="T6" fmla="*/ 32 w 32"/>
                <a:gd name="T7" fmla="*/ 16 h 33"/>
                <a:gd name="T8" fmla="*/ 16 w 32"/>
                <a:gd name="T9" fmla="*/ 33 h 33"/>
                <a:gd name="T10" fmla="*/ 16 w 32"/>
                <a:gd name="T11" fmla="*/ 4 h 33"/>
                <a:gd name="T12" fmla="*/ 4 w 32"/>
                <a:gd name="T13" fmla="*/ 16 h 33"/>
                <a:gd name="T14" fmla="*/ 16 w 32"/>
                <a:gd name="T15" fmla="*/ 29 h 33"/>
                <a:gd name="T16" fmla="*/ 28 w 32"/>
                <a:gd name="T17" fmla="*/ 16 h 33"/>
                <a:gd name="T18" fmla="*/ 16 w 32"/>
                <a:gd name="T19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6"/>
                    <a:pt x="25" y="33"/>
                    <a:pt x="16" y="33"/>
                  </a:cubicBezTo>
                  <a:close/>
                  <a:moveTo>
                    <a:pt x="16" y="4"/>
                  </a:moveTo>
                  <a:cubicBezTo>
                    <a:pt x="9" y="4"/>
                    <a:pt x="4" y="10"/>
                    <a:pt x="4" y="16"/>
                  </a:cubicBezTo>
                  <a:cubicBezTo>
                    <a:pt x="4" y="23"/>
                    <a:pt x="9" y="29"/>
                    <a:pt x="16" y="29"/>
                  </a:cubicBezTo>
                  <a:cubicBezTo>
                    <a:pt x="23" y="29"/>
                    <a:pt x="28" y="23"/>
                    <a:pt x="28" y="16"/>
                  </a:cubicBezTo>
                  <a:cubicBezTo>
                    <a:pt x="28" y="10"/>
                    <a:pt x="23" y="4"/>
                    <a:pt x="16" y="4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4" name="Freeform 57">
              <a:extLst>
                <a:ext uri="{FF2B5EF4-FFF2-40B4-BE49-F238E27FC236}">
                  <a16:creationId xmlns:a16="http://schemas.microsoft.com/office/drawing/2014/main" id="{C9DCB115-FEB1-46CA-F80E-3CC540ED9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708" y="3520665"/>
              <a:ext cx="148689" cy="46884"/>
            </a:xfrm>
            <a:custGeom>
              <a:avLst/>
              <a:gdLst>
                <a:gd name="T0" fmla="*/ 2 w 46"/>
                <a:gd name="T1" fmla="*/ 14 h 14"/>
                <a:gd name="T2" fmla="*/ 1 w 46"/>
                <a:gd name="T3" fmla="*/ 14 h 14"/>
                <a:gd name="T4" fmla="*/ 1 w 46"/>
                <a:gd name="T5" fmla="*/ 11 h 14"/>
                <a:gd name="T6" fmla="*/ 23 w 46"/>
                <a:gd name="T7" fmla="*/ 0 h 14"/>
                <a:gd name="T8" fmla="*/ 45 w 46"/>
                <a:gd name="T9" fmla="*/ 11 h 14"/>
                <a:gd name="T10" fmla="*/ 45 w 46"/>
                <a:gd name="T11" fmla="*/ 14 h 14"/>
                <a:gd name="T12" fmla="*/ 42 w 46"/>
                <a:gd name="T13" fmla="*/ 13 h 14"/>
                <a:gd name="T14" fmla="*/ 23 w 46"/>
                <a:gd name="T15" fmla="*/ 4 h 14"/>
                <a:gd name="T16" fmla="*/ 4 w 46"/>
                <a:gd name="T17" fmla="*/ 13 h 14"/>
                <a:gd name="T18" fmla="*/ 2 w 46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4">
                  <a:moveTo>
                    <a:pt x="2" y="14"/>
                  </a:moveTo>
                  <a:cubicBezTo>
                    <a:pt x="2" y="14"/>
                    <a:pt x="2" y="14"/>
                    <a:pt x="1" y="14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6" y="4"/>
                    <a:pt x="14" y="0"/>
                    <a:pt x="23" y="0"/>
                  </a:cubicBezTo>
                  <a:cubicBezTo>
                    <a:pt x="32" y="0"/>
                    <a:pt x="40" y="4"/>
                    <a:pt x="45" y="11"/>
                  </a:cubicBezTo>
                  <a:cubicBezTo>
                    <a:pt x="46" y="12"/>
                    <a:pt x="46" y="13"/>
                    <a:pt x="45" y="14"/>
                  </a:cubicBezTo>
                  <a:cubicBezTo>
                    <a:pt x="44" y="14"/>
                    <a:pt x="43" y="14"/>
                    <a:pt x="42" y="13"/>
                  </a:cubicBezTo>
                  <a:cubicBezTo>
                    <a:pt x="37" y="7"/>
                    <a:pt x="30" y="4"/>
                    <a:pt x="23" y="4"/>
                  </a:cubicBezTo>
                  <a:cubicBezTo>
                    <a:pt x="16" y="4"/>
                    <a:pt x="9" y="7"/>
                    <a:pt x="4" y="13"/>
                  </a:cubicBezTo>
                  <a:cubicBezTo>
                    <a:pt x="4" y="14"/>
                    <a:pt x="3" y="14"/>
                    <a:pt x="2" y="14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5" name="Freeform 58">
              <a:extLst>
                <a:ext uri="{FF2B5EF4-FFF2-40B4-BE49-F238E27FC236}">
                  <a16:creationId xmlns:a16="http://schemas.microsoft.com/office/drawing/2014/main" id="{01EF151E-576B-0F6A-C028-58E0F5B25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936" y="3488516"/>
              <a:ext cx="195572" cy="58940"/>
            </a:xfrm>
            <a:custGeom>
              <a:avLst/>
              <a:gdLst>
                <a:gd name="T0" fmla="*/ 2 w 60"/>
                <a:gd name="T1" fmla="*/ 17 h 18"/>
                <a:gd name="T2" fmla="*/ 1 w 60"/>
                <a:gd name="T3" fmla="*/ 17 h 18"/>
                <a:gd name="T4" fmla="*/ 0 w 60"/>
                <a:gd name="T5" fmla="*/ 14 h 18"/>
                <a:gd name="T6" fmla="*/ 30 w 60"/>
                <a:gd name="T7" fmla="*/ 0 h 18"/>
                <a:gd name="T8" fmla="*/ 60 w 60"/>
                <a:gd name="T9" fmla="*/ 14 h 18"/>
                <a:gd name="T10" fmla="*/ 59 w 60"/>
                <a:gd name="T11" fmla="*/ 17 h 18"/>
                <a:gd name="T12" fmla="*/ 56 w 60"/>
                <a:gd name="T13" fmla="*/ 17 h 18"/>
                <a:gd name="T14" fmla="*/ 30 w 60"/>
                <a:gd name="T15" fmla="*/ 4 h 18"/>
                <a:gd name="T16" fmla="*/ 4 w 60"/>
                <a:gd name="T17" fmla="*/ 17 h 18"/>
                <a:gd name="T18" fmla="*/ 2 w 60"/>
                <a:gd name="T19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8">
                  <a:moveTo>
                    <a:pt x="2" y="17"/>
                  </a:moveTo>
                  <a:cubicBezTo>
                    <a:pt x="2" y="17"/>
                    <a:pt x="1" y="17"/>
                    <a:pt x="1" y="17"/>
                  </a:cubicBezTo>
                  <a:cubicBezTo>
                    <a:pt x="0" y="16"/>
                    <a:pt x="0" y="15"/>
                    <a:pt x="0" y="14"/>
                  </a:cubicBezTo>
                  <a:cubicBezTo>
                    <a:pt x="8" y="5"/>
                    <a:pt x="18" y="0"/>
                    <a:pt x="30" y="0"/>
                  </a:cubicBezTo>
                  <a:cubicBezTo>
                    <a:pt x="42" y="0"/>
                    <a:pt x="52" y="5"/>
                    <a:pt x="60" y="14"/>
                  </a:cubicBezTo>
                  <a:cubicBezTo>
                    <a:pt x="60" y="15"/>
                    <a:pt x="60" y="16"/>
                    <a:pt x="59" y="17"/>
                  </a:cubicBezTo>
                  <a:cubicBezTo>
                    <a:pt x="58" y="18"/>
                    <a:pt x="57" y="17"/>
                    <a:pt x="56" y="17"/>
                  </a:cubicBezTo>
                  <a:cubicBezTo>
                    <a:pt x="50" y="9"/>
                    <a:pt x="40" y="4"/>
                    <a:pt x="30" y="4"/>
                  </a:cubicBezTo>
                  <a:cubicBezTo>
                    <a:pt x="20" y="4"/>
                    <a:pt x="10" y="9"/>
                    <a:pt x="4" y="17"/>
                  </a:cubicBezTo>
                  <a:cubicBezTo>
                    <a:pt x="3" y="17"/>
                    <a:pt x="3" y="17"/>
                    <a:pt x="2" y="17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6" name="Freeform 59">
              <a:extLst>
                <a:ext uri="{FF2B5EF4-FFF2-40B4-BE49-F238E27FC236}">
                  <a16:creationId xmlns:a16="http://schemas.microsoft.com/office/drawing/2014/main" id="{1DE5C051-62AD-D08C-84AF-77CBA764F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146" y="3456367"/>
              <a:ext cx="247815" cy="70996"/>
            </a:xfrm>
            <a:custGeom>
              <a:avLst/>
              <a:gdLst>
                <a:gd name="T0" fmla="*/ 74 w 76"/>
                <a:gd name="T1" fmla="*/ 21 h 22"/>
                <a:gd name="T2" fmla="*/ 73 w 76"/>
                <a:gd name="T3" fmla="*/ 21 h 22"/>
                <a:gd name="T4" fmla="*/ 38 w 76"/>
                <a:gd name="T5" fmla="*/ 4 h 22"/>
                <a:gd name="T6" fmla="*/ 4 w 76"/>
                <a:gd name="T7" fmla="*/ 21 h 22"/>
                <a:gd name="T8" fmla="*/ 1 w 76"/>
                <a:gd name="T9" fmla="*/ 21 h 22"/>
                <a:gd name="T10" fmla="*/ 0 w 76"/>
                <a:gd name="T11" fmla="*/ 18 h 22"/>
                <a:gd name="T12" fmla="*/ 38 w 76"/>
                <a:gd name="T13" fmla="*/ 0 h 22"/>
                <a:gd name="T14" fmla="*/ 76 w 76"/>
                <a:gd name="T15" fmla="*/ 18 h 22"/>
                <a:gd name="T16" fmla="*/ 75 w 76"/>
                <a:gd name="T17" fmla="*/ 21 h 22"/>
                <a:gd name="T18" fmla="*/ 74 w 76"/>
                <a:gd name="T1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22">
                  <a:moveTo>
                    <a:pt x="74" y="21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64" y="10"/>
                    <a:pt x="52" y="4"/>
                    <a:pt x="38" y="4"/>
                  </a:cubicBezTo>
                  <a:cubicBezTo>
                    <a:pt x="24" y="4"/>
                    <a:pt x="12" y="10"/>
                    <a:pt x="4" y="21"/>
                  </a:cubicBezTo>
                  <a:cubicBezTo>
                    <a:pt x="3" y="21"/>
                    <a:pt x="2" y="22"/>
                    <a:pt x="1" y="21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10" y="7"/>
                    <a:pt x="23" y="0"/>
                    <a:pt x="38" y="0"/>
                  </a:cubicBezTo>
                  <a:cubicBezTo>
                    <a:pt x="53" y="0"/>
                    <a:pt x="66" y="7"/>
                    <a:pt x="76" y="18"/>
                  </a:cubicBezTo>
                  <a:cubicBezTo>
                    <a:pt x="76" y="19"/>
                    <a:pt x="76" y="20"/>
                    <a:pt x="75" y="21"/>
                  </a:cubicBezTo>
                  <a:cubicBezTo>
                    <a:pt x="75" y="21"/>
                    <a:pt x="75" y="21"/>
                    <a:pt x="74" y="21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197" name="Freeform 60">
              <a:extLst>
                <a:ext uri="{FF2B5EF4-FFF2-40B4-BE49-F238E27FC236}">
                  <a16:creationId xmlns:a16="http://schemas.microsoft.com/office/drawing/2014/main" id="{C958B42C-825B-68DA-F18A-4B15476795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3011" y="3655958"/>
              <a:ext cx="162084" cy="88409"/>
            </a:xfrm>
            <a:custGeom>
              <a:avLst/>
              <a:gdLst>
                <a:gd name="T0" fmla="*/ 48 w 50"/>
                <a:gd name="T1" fmla="*/ 27 h 27"/>
                <a:gd name="T2" fmla="*/ 48 w 50"/>
                <a:gd name="T3" fmla="*/ 27 h 27"/>
                <a:gd name="T4" fmla="*/ 2 w 50"/>
                <a:gd name="T5" fmla="*/ 27 h 27"/>
                <a:gd name="T6" fmla="*/ 0 w 50"/>
                <a:gd name="T7" fmla="*/ 25 h 27"/>
                <a:gd name="T8" fmla="*/ 25 w 50"/>
                <a:gd name="T9" fmla="*/ 0 h 27"/>
                <a:gd name="T10" fmla="*/ 50 w 50"/>
                <a:gd name="T11" fmla="*/ 24 h 27"/>
                <a:gd name="T12" fmla="*/ 50 w 50"/>
                <a:gd name="T13" fmla="*/ 25 h 27"/>
                <a:gd name="T14" fmla="*/ 48 w 50"/>
                <a:gd name="T15" fmla="*/ 27 h 27"/>
                <a:gd name="T16" fmla="*/ 4 w 50"/>
                <a:gd name="T17" fmla="*/ 23 h 27"/>
                <a:gd name="T18" fmla="*/ 46 w 50"/>
                <a:gd name="T19" fmla="*/ 23 h 27"/>
                <a:gd name="T20" fmla="*/ 25 w 50"/>
                <a:gd name="T21" fmla="*/ 4 h 27"/>
                <a:gd name="T22" fmla="*/ 4 w 50"/>
                <a:gd name="T23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27"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0" y="26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6"/>
                    <a:pt x="49" y="27"/>
                    <a:pt x="48" y="27"/>
                  </a:cubicBezTo>
                  <a:close/>
                  <a:moveTo>
                    <a:pt x="4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5" y="12"/>
                    <a:pt x="36" y="4"/>
                    <a:pt x="25" y="4"/>
                  </a:cubicBezTo>
                  <a:cubicBezTo>
                    <a:pt x="14" y="4"/>
                    <a:pt x="5" y="12"/>
                    <a:pt x="4" y="23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0" normalizeH="0" baseline="0" noProof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Calibri"/>
              </a:endParaRPr>
            </a:p>
          </p:txBody>
        </p:sp>
      </p:grpSp>
      <p:pic>
        <p:nvPicPr>
          <p:cNvPr id="198" name="Picture 197">
            <a:extLst>
              <a:ext uri="{FF2B5EF4-FFF2-40B4-BE49-F238E27FC236}">
                <a16:creationId xmlns:a16="http://schemas.microsoft.com/office/drawing/2014/main" id="{7D795F1D-30DE-472D-EC62-5685C2724E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7CCE5B53-E2CA-E244-F0DF-211A0188F0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0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9">
            <a:extLst>
              <a:ext uri="{FF2B5EF4-FFF2-40B4-BE49-F238E27FC236}">
                <a16:creationId xmlns:a16="http://schemas.microsoft.com/office/drawing/2014/main" id="{128CF603-8F6E-7313-41F7-72F2FFF1863E}"/>
              </a:ext>
            </a:extLst>
          </p:cNvPr>
          <p:cNvSpPr txBox="1">
            <a:spLocks/>
          </p:cNvSpPr>
          <p:nvPr/>
        </p:nvSpPr>
        <p:spPr>
          <a:xfrm>
            <a:off x="2512447" y="302716"/>
            <a:ext cx="5976424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TM Strategy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CB23C88-DCEA-7AA7-0EA0-CF793F0FFB32}"/>
              </a:ext>
            </a:extLst>
          </p:cNvPr>
          <p:cNvSpPr txBox="1">
            <a:spLocks/>
          </p:cNvSpPr>
          <p:nvPr/>
        </p:nvSpPr>
        <p:spPr>
          <a:xfrm>
            <a:off x="1535852" y="832171"/>
            <a:ext cx="9243059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xpanding McGraw Hill's presence into the Nordic countries requires a well-thought-out Go-To-Market (GTM) strategy. The Nordic region consists of Denmark, Finland, Iceland, Norway, and Sweden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5F3B62-E6DE-E766-6B94-439925BF1BE3}"/>
              </a:ext>
            </a:extLst>
          </p:cNvPr>
          <p:cNvSpPr txBox="1"/>
          <p:nvPr/>
        </p:nvSpPr>
        <p:spPr>
          <a:xfrm>
            <a:off x="1635157" y="5643642"/>
            <a:ext cx="2370858" cy="4154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Market Research &amp; Analysis</a:t>
            </a:r>
          </a:p>
          <a:p>
            <a:pPr algn="r" defTabSz="914400">
              <a:defRPr/>
            </a:pPr>
            <a:endParaRPr lang="en-US" sz="1100" dirty="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0BAA77-08A8-9849-3AA9-B0CFC4B27B50}"/>
              </a:ext>
            </a:extLst>
          </p:cNvPr>
          <p:cNvSpPr txBox="1"/>
          <p:nvPr/>
        </p:nvSpPr>
        <p:spPr>
          <a:xfrm>
            <a:off x="1091919" y="4627110"/>
            <a:ext cx="2315695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Segmentation and Target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1CF962-0654-4B65-F627-ED0B4465C7FB}"/>
              </a:ext>
            </a:extLst>
          </p:cNvPr>
          <p:cNvSpPr txBox="1"/>
          <p:nvPr/>
        </p:nvSpPr>
        <p:spPr>
          <a:xfrm>
            <a:off x="1191528" y="3610576"/>
            <a:ext cx="2356859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Value Proposi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277136-5ABD-8C3D-157F-8A991492A886}"/>
              </a:ext>
            </a:extLst>
          </p:cNvPr>
          <p:cNvSpPr txBox="1"/>
          <p:nvPr/>
        </p:nvSpPr>
        <p:spPr>
          <a:xfrm>
            <a:off x="1833564" y="2594044"/>
            <a:ext cx="2318158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Localiz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455569-BB27-3764-8165-2CBC703B5B0A}"/>
              </a:ext>
            </a:extLst>
          </p:cNvPr>
          <p:cNvSpPr txBox="1"/>
          <p:nvPr/>
        </p:nvSpPr>
        <p:spPr>
          <a:xfrm>
            <a:off x="8220962" y="4515659"/>
            <a:ext cx="2379529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Digital Transformation</a:t>
            </a:r>
          </a:p>
          <a:p>
            <a:pPr defTabSz="914400">
              <a:defRPr/>
            </a:pPr>
            <a:endParaRPr lang="en-US" sz="1200" b="1" dirty="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33067B-6F19-1CAC-0889-13525B208BC1}"/>
              </a:ext>
            </a:extLst>
          </p:cNvPr>
          <p:cNvSpPr txBox="1"/>
          <p:nvPr/>
        </p:nvSpPr>
        <p:spPr>
          <a:xfrm>
            <a:off x="8222860" y="3395133"/>
            <a:ext cx="2325240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Pricing Strategy</a:t>
            </a:r>
          </a:p>
          <a:p>
            <a:pPr defTabSz="914400">
              <a:defRPr/>
            </a:pPr>
            <a:endParaRPr lang="en-US" sz="1200" b="1" dirty="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6E1D17-2FB5-B9F9-7C57-75B76D9180A4}"/>
              </a:ext>
            </a:extLst>
          </p:cNvPr>
          <p:cNvSpPr txBox="1"/>
          <p:nvPr/>
        </p:nvSpPr>
        <p:spPr>
          <a:xfrm>
            <a:off x="7507697" y="2499425"/>
            <a:ext cx="2296083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Distribution Channels</a:t>
            </a:r>
          </a:p>
          <a:p>
            <a:pPr defTabSz="914400">
              <a:defRPr/>
            </a:pPr>
            <a:endParaRPr lang="en-US" sz="1200" b="1" dirty="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A02AA0-8BC7-4064-63DC-B0283358A630}"/>
              </a:ext>
            </a:extLst>
          </p:cNvPr>
          <p:cNvSpPr txBox="1"/>
          <p:nvPr/>
        </p:nvSpPr>
        <p:spPr>
          <a:xfrm>
            <a:off x="7629219" y="5614972"/>
            <a:ext cx="2365325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Measuring Success</a:t>
            </a:r>
          </a:p>
        </p:txBody>
      </p:sp>
      <p:sp>
        <p:nvSpPr>
          <p:cNvPr id="14" name="Freeform 23">
            <a:extLst>
              <a:ext uri="{FF2B5EF4-FFF2-40B4-BE49-F238E27FC236}">
                <a16:creationId xmlns:a16="http://schemas.microsoft.com/office/drawing/2014/main" id="{A3291D75-4775-E838-DFF9-5E222BCD7B5B}"/>
              </a:ext>
            </a:extLst>
          </p:cNvPr>
          <p:cNvSpPr>
            <a:spLocks/>
          </p:cNvSpPr>
          <p:nvPr/>
        </p:nvSpPr>
        <p:spPr bwMode="auto">
          <a:xfrm>
            <a:off x="3936393" y="2390062"/>
            <a:ext cx="3957810" cy="3631314"/>
          </a:xfrm>
          <a:custGeom>
            <a:avLst/>
            <a:gdLst>
              <a:gd name="T0" fmla="*/ 235 w 1090"/>
              <a:gd name="T1" fmla="*/ 1000 h 1000"/>
              <a:gd name="T2" fmla="*/ 254 w 1090"/>
              <a:gd name="T3" fmla="*/ 977 h 1000"/>
              <a:gd name="T4" fmla="*/ 32 w 1090"/>
              <a:gd name="T5" fmla="*/ 554 h 1000"/>
              <a:gd name="T6" fmla="*/ 545 w 1090"/>
              <a:gd name="T7" fmla="*/ 40 h 1000"/>
              <a:gd name="T8" fmla="*/ 1058 w 1090"/>
              <a:gd name="T9" fmla="*/ 554 h 1000"/>
              <a:gd name="T10" fmla="*/ 871 w 1090"/>
              <a:gd name="T11" fmla="*/ 951 h 1000"/>
              <a:gd name="T12" fmla="*/ 896 w 1090"/>
              <a:gd name="T13" fmla="*/ 969 h 1000"/>
              <a:gd name="T14" fmla="*/ 1090 w 1090"/>
              <a:gd name="T15" fmla="*/ 549 h 1000"/>
              <a:gd name="T16" fmla="*/ 545 w 1090"/>
              <a:gd name="T17" fmla="*/ 0 h 1000"/>
              <a:gd name="T18" fmla="*/ 0 w 1090"/>
              <a:gd name="T19" fmla="*/ 549 h 1000"/>
              <a:gd name="T20" fmla="*/ 235 w 1090"/>
              <a:gd name="T21" fmla="*/ 1000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0" h="1000">
                <a:moveTo>
                  <a:pt x="235" y="1000"/>
                </a:moveTo>
                <a:cubicBezTo>
                  <a:pt x="254" y="977"/>
                  <a:pt x="254" y="977"/>
                  <a:pt x="254" y="977"/>
                </a:cubicBezTo>
                <a:cubicBezTo>
                  <a:pt x="120" y="885"/>
                  <a:pt x="32" y="730"/>
                  <a:pt x="32" y="554"/>
                </a:cubicBezTo>
                <a:cubicBezTo>
                  <a:pt x="32" y="270"/>
                  <a:pt x="262" y="40"/>
                  <a:pt x="545" y="40"/>
                </a:cubicBezTo>
                <a:cubicBezTo>
                  <a:pt x="828" y="40"/>
                  <a:pt x="1058" y="270"/>
                  <a:pt x="1058" y="554"/>
                </a:cubicBezTo>
                <a:cubicBezTo>
                  <a:pt x="1058" y="714"/>
                  <a:pt x="985" y="856"/>
                  <a:pt x="871" y="951"/>
                </a:cubicBezTo>
                <a:cubicBezTo>
                  <a:pt x="896" y="969"/>
                  <a:pt x="896" y="969"/>
                  <a:pt x="896" y="969"/>
                </a:cubicBezTo>
                <a:cubicBezTo>
                  <a:pt x="1014" y="868"/>
                  <a:pt x="1090" y="718"/>
                  <a:pt x="1090" y="549"/>
                </a:cubicBezTo>
                <a:cubicBezTo>
                  <a:pt x="1090" y="246"/>
                  <a:pt x="846" y="0"/>
                  <a:pt x="545" y="0"/>
                </a:cubicBezTo>
                <a:cubicBezTo>
                  <a:pt x="244" y="0"/>
                  <a:pt x="0" y="246"/>
                  <a:pt x="0" y="549"/>
                </a:cubicBezTo>
                <a:cubicBezTo>
                  <a:pt x="0" y="736"/>
                  <a:pt x="93" y="901"/>
                  <a:pt x="235" y="1000"/>
                </a:cubicBez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5" name="Oval 8">
            <a:extLst>
              <a:ext uri="{FF2B5EF4-FFF2-40B4-BE49-F238E27FC236}">
                <a16:creationId xmlns:a16="http://schemas.microsoft.com/office/drawing/2014/main" id="{43D0CEF4-15B0-B702-3888-F1F64CE30D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6297" y="4493542"/>
            <a:ext cx="780848" cy="790123"/>
          </a:xfrm>
          <a:prstGeom prst="ellipse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6" name="Oval 7">
            <a:extLst>
              <a:ext uri="{FF2B5EF4-FFF2-40B4-BE49-F238E27FC236}">
                <a16:creationId xmlns:a16="http://schemas.microsoft.com/office/drawing/2014/main" id="{C5486486-FF49-A27F-E574-CF28FAEF7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4714" y="4595828"/>
            <a:ext cx="584017" cy="585547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7" name="Oval 10">
            <a:extLst>
              <a:ext uri="{FF2B5EF4-FFF2-40B4-BE49-F238E27FC236}">
                <a16:creationId xmlns:a16="http://schemas.microsoft.com/office/drawing/2014/main" id="{7BCE7971-DE66-6CDA-A529-C0261ADB2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6881" y="3342697"/>
            <a:ext cx="780848" cy="786411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8" name="Oval 9">
            <a:extLst>
              <a:ext uri="{FF2B5EF4-FFF2-40B4-BE49-F238E27FC236}">
                <a16:creationId xmlns:a16="http://schemas.microsoft.com/office/drawing/2014/main" id="{E48C3A8D-7E09-27CB-5422-1B0677ABFA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5297" y="3443896"/>
            <a:ext cx="584017" cy="584017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9" name="Oval 12">
            <a:extLst>
              <a:ext uri="{FF2B5EF4-FFF2-40B4-BE49-F238E27FC236}">
                <a16:creationId xmlns:a16="http://schemas.microsoft.com/office/drawing/2014/main" id="{01303D26-E6C2-1618-036F-47AFAB5DD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5056" y="2416534"/>
            <a:ext cx="780848" cy="790123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20" name="Oval 11">
            <a:extLst>
              <a:ext uri="{FF2B5EF4-FFF2-40B4-BE49-F238E27FC236}">
                <a16:creationId xmlns:a16="http://schemas.microsoft.com/office/drawing/2014/main" id="{59E3E979-1C87-F923-F54F-84FA61CEA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5005" y="2517288"/>
            <a:ext cx="580949" cy="588614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1" name="Oval 14">
            <a:extLst>
              <a:ext uri="{FF2B5EF4-FFF2-40B4-BE49-F238E27FC236}">
                <a16:creationId xmlns:a16="http://schemas.microsoft.com/office/drawing/2014/main" id="{BD472EF0-FE77-983F-9722-B15CD3C13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3946" y="2066884"/>
            <a:ext cx="782701" cy="791978"/>
          </a:xfrm>
          <a:prstGeom prst="ellipse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2" name="Oval 13">
            <a:extLst>
              <a:ext uri="{FF2B5EF4-FFF2-40B4-BE49-F238E27FC236}">
                <a16:creationId xmlns:a16="http://schemas.microsoft.com/office/drawing/2014/main" id="{EE3810CE-C735-5A89-B2C8-660BE749F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5590" y="2170865"/>
            <a:ext cx="579416" cy="584017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3" name="Oval 16">
            <a:extLst>
              <a:ext uri="{FF2B5EF4-FFF2-40B4-BE49-F238E27FC236}">
                <a16:creationId xmlns:a16="http://schemas.microsoft.com/office/drawing/2014/main" id="{22219632-D185-262E-3D7B-77DCAF185D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2354" y="2416534"/>
            <a:ext cx="780848" cy="790123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24" name="Oval 15">
            <a:extLst>
              <a:ext uri="{FF2B5EF4-FFF2-40B4-BE49-F238E27FC236}">
                <a16:creationId xmlns:a16="http://schemas.microsoft.com/office/drawing/2014/main" id="{CDF3A2C5-A208-A7E7-7103-53FC4EB25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2305" y="2519588"/>
            <a:ext cx="580949" cy="584017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5" name="Oval 18">
            <a:extLst>
              <a:ext uri="{FF2B5EF4-FFF2-40B4-BE49-F238E27FC236}">
                <a16:creationId xmlns:a16="http://schemas.microsoft.com/office/drawing/2014/main" id="{1060F6EB-7728-3852-334C-DC76074FD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3595" y="3331643"/>
            <a:ext cx="780848" cy="790123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26" name="Oval 17">
            <a:extLst>
              <a:ext uri="{FF2B5EF4-FFF2-40B4-BE49-F238E27FC236}">
                <a16:creationId xmlns:a16="http://schemas.microsoft.com/office/drawing/2014/main" id="{F9C31798-25C3-FFCD-889C-D7B1F7353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2012" y="3432397"/>
            <a:ext cx="584017" cy="588614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7" name="Oval 20">
            <a:extLst>
              <a:ext uri="{FF2B5EF4-FFF2-40B4-BE49-F238E27FC236}">
                <a16:creationId xmlns:a16="http://schemas.microsoft.com/office/drawing/2014/main" id="{0A5E19D1-2F7C-62EF-523F-E6BC295AA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1435" y="4493542"/>
            <a:ext cx="777139" cy="790123"/>
          </a:xfrm>
          <a:prstGeom prst="ellipse">
            <a:avLst/>
          </a:prstGeom>
          <a:solidFill>
            <a:srgbClr val="78D2D2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8" name="Oval 19">
            <a:extLst>
              <a:ext uri="{FF2B5EF4-FFF2-40B4-BE49-F238E27FC236}">
                <a16:creationId xmlns:a16="http://schemas.microsoft.com/office/drawing/2014/main" id="{89614E93-0A0F-F45B-FB17-C46265F97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232" y="4594295"/>
            <a:ext cx="585546" cy="588614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29" name="Oval 22">
            <a:extLst>
              <a:ext uri="{FF2B5EF4-FFF2-40B4-BE49-F238E27FC236}">
                <a16:creationId xmlns:a16="http://schemas.microsoft.com/office/drawing/2014/main" id="{A8491192-447F-ACFB-7B6B-D800389EB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646" y="5465204"/>
            <a:ext cx="780848" cy="791978"/>
          </a:xfrm>
          <a:prstGeom prst="ellipse">
            <a:avLst/>
          </a:prstGeom>
          <a:solidFill>
            <a:srgbClr val="3B3939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30" name="Oval 21">
            <a:extLst>
              <a:ext uri="{FF2B5EF4-FFF2-40B4-BE49-F238E27FC236}">
                <a16:creationId xmlns:a16="http://schemas.microsoft.com/office/drawing/2014/main" id="{576C3573-4E72-9984-2889-6C6BEA129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1063" y="5566886"/>
            <a:ext cx="584017" cy="588614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3F4EC93-41EB-C87F-7686-212CE1D2AE07}"/>
              </a:ext>
            </a:extLst>
          </p:cNvPr>
          <p:cNvSpPr txBox="1"/>
          <p:nvPr/>
        </p:nvSpPr>
        <p:spPr>
          <a:xfrm>
            <a:off x="5322239" y="4264082"/>
            <a:ext cx="1190714" cy="18466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914400">
              <a:defRPr/>
            </a:pPr>
            <a:r>
              <a:rPr lang="en-US" sz="1200" b="1" dirty="0">
                <a:solidFill>
                  <a:prstClr val="black"/>
                </a:solidFill>
                <a:latin typeface="Calibri Light"/>
              </a:rPr>
              <a:t>GT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D4A77C-01E5-591C-6299-E476ECBAB757}"/>
              </a:ext>
            </a:extLst>
          </p:cNvPr>
          <p:cNvSpPr txBox="1"/>
          <p:nvPr/>
        </p:nvSpPr>
        <p:spPr>
          <a:xfrm>
            <a:off x="4834138" y="4530852"/>
            <a:ext cx="2166918" cy="84638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 defTabSz="914400">
              <a:defRPr/>
            </a:pPr>
            <a:r>
              <a:rPr lang="en-US" sz="1100" dirty="0">
                <a:solidFill>
                  <a:prstClr val="black"/>
                </a:solidFill>
                <a:latin typeface="Calibri Light"/>
              </a:rPr>
              <a:t>Deep understanding of local contexts, close collaboration with stakeholders, and a commitment to delivering value that aligns with the region's educational goals and aspirations. </a:t>
            </a:r>
          </a:p>
        </p:txBody>
      </p:sp>
      <p:sp>
        <p:nvSpPr>
          <p:cNvPr id="33" name="Oval 6">
            <a:extLst>
              <a:ext uri="{FF2B5EF4-FFF2-40B4-BE49-F238E27FC236}">
                <a16:creationId xmlns:a16="http://schemas.microsoft.com/office/drawing/2014/main" id="{ABA09556-B043-24D2-AEFE-144B335C4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100" y="5470289"/>
            <a:ext cx="780848" cy="786411"/>
          </a:xfrm>
          <a:prstGeom prst="ellipse">
            <a:avLst/>
          </a:prstGeom>
          <a:solidFill>
            <a:srgbClr val="E2583D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34" name="Oval 5">
            <a:extLst>
              <a:ext uri="{FF2B5EF4-FFF2-40B4-BE49-F238E27FC236}">
                <a16:creationId xmlns:a16="http://schemas.microsoft.com/office/drawing/2014/main" id="{F903FB9F-A890-C9D1-2793-ED728C495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7049" y="5570721"/>
            <a:ext cx="580949" cy="585546"/>
          </a:xfrm>
          <a:prstGeom prst="ellipse">
            <a:avLst/>
          </a:prstGeom>
          <a:solidFill>
            <a:sysClr val="window" lastClr="FFFFFF"/>
          </a:solidFill>
          <a:ln w="15875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B3F402B-DA68-8971-7767-D58E3A0A6562}"/>
              </a:ext>
            </a:extLst>
          </p:cNvPr>
          <p:cNvGrpSpPr/>
          <p:nvPr/>
        </p:nvGrpSpPr>
        <p:grpSpPr>
          <a:xfrm>
            <a:off x="4567986" y="5719825"/>
            <a:ext cx="219075" cy="287338"/>
            <a:chOff x="6445250" y="2498725"/>
            <a:chExt cx="219075" cy="287338"/>
          </a:xfrm>
          <a:solidFill>
            <a:srgbClr val="E2583D"/>
          </a:solidFill>
        </p:grpSpPr>
        <p:sp>
          <p:nvSpPr>
            <p:cNvPr id="36" name="Freeform 227">
              <a:extLst>
                <a:ext uri="{FF2B5EF4-FFF2-40B4-BE49-F238E27FC236}">
                  <a16:creationId xmlns:a16="http://schemas.microsoft.com/office/drawing/2014/main" id="{F60C4953-6ECC-DFEC-84BF-767F6EEDC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2498725"/>
              <a:ext cx="219075" cy="287338"/>
            </a:xfrm>
            <a:custGeom>
              <a:avLst/>
              <a:gdLst>
                <a:gd name="T0" fmla="*/ 104 w 692"/>
                <a:gd name="T1" fmla="*/ 868 h 902"/>
                <a:gd name="T2" fmla="*/ 69 w 692"/>
                <a:gd name="T3" fmla="*/ 849 h 902"/>
                <a:gd name="T4" fmla="*/ 43 w 692"/>
                <a:gd name="T5" fmla="*/ 818 h 902"/>
                <a:gd name="T6" fmla="*/ 31 w 692"/>
                <a:gd name="T7" fmla="*/ 778 h 902"/>
                <a:gd name="T8" fmla="*/ 35 w 692"/>
                <a:gd name="T9" fmla="*/ 736 h 902"/>
                <a:gd name="T10" fmla="*/ 55 w 692"/>
                <a:gd name="T11" fmla="*/ 700 h 902"/>
                <a:gd name="T12" fmla="*/ 86 w 692"/>
                <a:gd name="T13" fmla="*/ 674 h 902"/>
                <a:gd name="T14" fmla="*/ 124 w 692"/>
                <a:gd name="T15" fmla="*/ 662 h 902"/>
                <a:gd name="T16" fmla="*/ 167 w 692"/>
                <a:gd name="T17" fmla="*/ 667 h 902"/>
                <a:gd name="T18" fmla="*/ 202 w 692"/>
                <a:gd name="T19" fmla="*/ 686 h 902"/>
                <a:gd name="T20" fmla="*/ 228 w 692"/>
                <a:gd name="T21" fmla="*/ 717 h 902"/>
                <a:gd name="T22" fmla="*/ 240 w 692"/>
                <a:gd name="T23" fmla="*/ 757 h 902"/>
                <a:gd name="T24" fmla="*/ 236 w 692"/>
                <a:gd name="T25" fmla="*/ 798 h 902"/>
                <a:gd name="T26" fmla="*/ 216 w 692"/>
                <a:gd name="T27" fmla="*/ 834 h 902"/>
                <a:gd name="T28" fmla="*/ 185 w 692"/>
                <a:gd name="T29" fmla="*/ 859 h 902"/>
                <a:gd name="T30" fmla="*/ 146 w 692"/>
                <a:gd name="T31" fmla="*/ 872 h 902"/>
                <a:gd name="T32" fmla="*/ 511 w 692"/>
                <a:gd name="T33" fmla="*/ 361 h 902"/>
                <a:gd name="T34" fmla="*/ 271 w 692"/>
                <a:gd name="T35" fmla="*/ 722 h 902"/>
                <a:gd name="T36" fmla="*/ 632 w 692"/>
                <a:gd name="T37" fmla="*/ 722 h 902"/>
                <a:gd name="T38" fmla="*/ 622 w 692"/>
                <a:gd name="T39" fmla="*/ 813 h 902"/>
                <a:gd name="T40" fmla="*/ 266 w 692"/>
                <a:gd name="T41" fmla="*/ 802 h 902"/>
                <a:gd name="T42" fmla="*/ 270 w 692"/>
                <a:gd name="T43" fmla="*/ 760 h 902"/>
                <a:gd name="T44" fmla="*/ 652 w 692"/>
                <a:gd name="T45" fmla="*/ 751 h 902"/>
                <a:gd name="T46" fmla="*/ 660 w 692"/>
                <a:gd name="T47" fmla="*/ 743 h 902"/>
                <a:gd name="T48" fmla="*/ 661 w 692"/>
                <a:gd name="T49" fmla="*/ 373 h 902"/>
                <a:gd name="T50" fmla="*/ 655 w 692"/>
                <a:gd name="T51" fmla="*/ 364 h 902"/>
                <a:gd name="T52" fmla="*/ 541 w 692"/>
                <a:gd name="T53" fmla="*/ 361 h 902"/>
                <a:gd name="T54" fmla="*/ 539 w 692"/>
                <a:gd name="T55" fmla="*/ 158 h 902"/>
                <a:gd name="T56" fmla="*/ 529 w 692"/>
                <a:gd name="T57" fmla="*/ 151 h 902"/>
                <a:gd name="T58" fmla="*/ 250 w 692"/>
                <a:gd name="T59" fmla="*/ 151 h 902"/>
                <a:gd name="T60" fmla="*/ 242 w 692"/>
                <a:gd name="T61" fmla="*/ 160 h 902"/>
                <a:gd name="T62" fmla="*/ 241 w 692"/>
                <a:gd name="T63" fmla="*/ 683 h 902"/>
                <a:gd name="T64" fmla="*/ 213 w 692"/>
                <a:gd name="T65" fmla="*/ 657 h 902"/>
                <a:gd name="T66" fmla="*/ 180 w 692"/>
                <a:gd name="T67" fmla="*/ 640 h 902"/>
                <a:gd name="T68" fmla="*/ 178 w 692"/>
                <a:gd name="T69" fmla="*/ 7 h 902"/>
                <a:gd name="T70" fmla="*/ 168 w 692"/>
                <a:gd name="T71" fmla="*/ 0 h 902"/>
                <a:gd name="T72" fmla="*/ 70 w 692"/>
                <a:gd name="T73" fmla="*/ 1 h 902"/>
                <a:gd name="T74" fmla="*/ 61 w 692"/>
                <a:gd name="T75" fmla="*/ 10 h 902"/>
                <a:gd name="T76" fmla="*/ 61 w 692"/>
                <a:gd name="T77" fmla="*/ 22 h 902"/>
                <a:gd name="T78" fmla="*/ 70 w 692"/>
                <a:gd name="T79" fmla="*/ 29 h 902"/>
                <a:gd name="T80" fmla="*/ 150 w 692"/>
                <a:gd name="T81" fmla="*/ 632 h 902"/>
                <a:gd name="T82" fmla="*/ 108 w 692"/>
                <a:gd name="T83" fmla="*/ 635 h 902"/>
                <a:gd name="T84" fmla="*/ 60 w 692"/>
                <a:gd name="T85" fmla="*/ 655 h 902"/>
                <a:gd name="T86" fmla="*/ 24 w 692"/>
                <a:gd name="T87" fmla="*/ 691 h 902"/>
                <a:gd name="T88" fmla="*/ 3 w 692"/>
                <a:gd name="T89" fmla="*/ 740 h 902"/>
                <a:gd name="T90" fmla="*/ 3 w 692"/>
                <a:gd name="T91" fmla="*/ 794 h 902"/>
                <a:gd name="T92" fmla="*/ 24 w 692"/>
                <a:gd name="T93" fmla="*/ 842 h 902"/>
                <a:gd name="T94" fmla="*/ 60 w 692"/>
                <a:gd name="T95" fmla="*/ 880 h 902"/>
                <a:gd name="T96" fmla="*/ 108 w 692"/>
                <a:gd name="T97" fmla="*/ 900 h 902"/>
                <a:gd name="T98" fmla="*/ 152 w 692"/>
                <a:gd name="T99" fmla="*/ 901 h 902"/>
                <a:gd name="T100" fmla="*/ 200 w 692"/>
                <a:gd name="T101" fmla="*/ 886 h 902"/>
                <a:gd name="T102" fmla="*/ 247 w 692"/>
                <a:gd name="T103" fmla="*/ 842 h 902"/>
                <a:gd name="T104" fmla="*/ 671 w 692"/>
                <a:gd name="T105" fmla="*/ 901 h 902"/>
                <a:gd name="T106" fmla="*/ 682 w 692"/>
                <a:gd name="T107" fmla="*/ 901 h 902"/>
                <a:gd name="T108" fmla="*/ 691 w 692"/>
                <a:gd name="T109" fmla="*/ 893 h 902"/>
                <a:gd name="T110" fmla="*/ 691 w 692"/>
                <a:gd name="T111" fmla="*/ 8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2" h="902">
                  <a:moveTo>
                    <a:pt x="135" y="872"/>
                  </a:moveTo>
                  <a:lnTo>
                    <a:pt x="124" y="872"/>
                  </a:lnTo>
                  <a:lnTo>
                    <a:pt x="115" y="870"/>
                  </a:lnTo>
                  <a:lnTo>
                    <a:pt x="104" y="868"/>
                  </a:lnTo>
                  <a:lnTo>
                    <a:pt x="94" y="864"/>
                  </a:lnTo>
                  <a:lnTo>
                    <a:pt x="86" y="859"/>
                  </a:lnTo>
                  <a:lnTo>
                    <a:pt x="76" y="854"/>
                  </a:lnTo>
                  <a:lnTo>
                    <a:pt x="69" y="849"/>
                  </a:lnTo>
                  <a:lnTo>
                    <a:pt x="61" y="841"/>
                  </a:lnTo>
                  <a:lnTo>
                    <a:pt x="55" y="834"/>
                  </a:lnTo>
                  <a:lnTo>
                    <a:pt x="48" y="826"/>
                  </a:lnTo>
                  <a:lnTo>
                    <a:pt x="43" y="818"/>
                  </a:lnTo>
                  <a:lnTo>
                    <a:pt x="39" y="808"/>
                  </a:lnTo>
                  <a:lnTo>
                    <a:pt x="35" y="798"/>
                  </a:lnTo>
                  <a:lnTo>
                    <a:pt x="32" y="789"/>
                  </a:lnTo>
                  <a:lnTo>
                    <a:pt x="31" y="778"/>
                  </a:lnTo>
                  <a:lnTo>
                    <a:pt x="30" y="767"/>
                  </a:lnTo>
                  <a:lnTo>
                    <a:pt x="31" y="757"/>
                  </a:lnTo>
                  <a:lnTo>
                    <a:pt x="32" y="746"/>
                  </a:lnTo>
                  <a:lnTo>
                    <a:pt x="35" y="736"/>
                  </a:lnTo>
                  <a:lnTo>
                    <a:pt x="39" y="727"/>
                  </a:lnTo>
                  <a:lnTo>
                    <a:pt x="43" y="717"/>
                  </a:lnTo>
                  <a:lnTo>
                    <a:pt x="48" y="708"/>
                  </a:lnTo>
                  <a:lnTo>
                    <a:pt x="55" y="700"/>
                  </a:lnTo>
                  <a:lnTo>
                    <a:pt x="61" y="692"/>
                  </a:lnTo>
                  <a:lnTo>
                    <a:pt x="69" y="686"/>
                  </a:lnTo>
                  <a:lnTo>
                    <a:pt x="76" y="680"/>
                  </a:lnTo>
                  <a:lnTo>
                    <a:pt x="86" y="674"/>
                  </a:lnTo>
                  <a:lnTo>
                    <a:pt x="94" y="670"/>
                  </a:lnTo>
                  <a:lnTo>
                    <a:pt x="104" y="667"/>
                  </a:lnTo>
                  <a:lnTo>
                    <a:pt x="115" y="665"/>
                  </a:lnTo>
                  <a:lnTo>
                    <a:pt x="124" y="662"/>
                  </a:lnTo>
                  <a:lnTo>
                    <a:pt x="135" y="662"/>
                  </a:lnTo>
                  <a:lnTo>
                    <a:pt x="146" y="662"/>
                  </a:lnTo>
                  <a:lnTo>
                    <a:pt x="156" y="665"/>
                  </a:lnTo>
                  <a:lnTo>
                    <a:pt x="167" y="667"/>
                  </a:lnTo>
                  <a:lnTo>
                    <a:pt x="177" y="670"/>
                  </a:lnTo>
                  <a:lnTo>
                    <a:pt x="185" y="674"/>
                  </a:lnTo>
                  <a:lnTo>
                    <a:pt x="194" y="680"/>
                  </a:lnTo>
                  <a:lnTo>
                    <a:pt x="202" y="686"/>
                  </a:lnTo>
                  <a:lnTo>
                    <a:pt x="210" y="692"/>
                  </a:lnTo>
                  <a:lnTo>
                    <a:pt x="216" y="700"/>
                  </a:lnTo>
                  <a:lnTo>
                    <a:pt x="223" y="708"/>
                  </a:lnTo>
                  <a:lnTo>
                    <a:pt x="228" y="717"/>
                  </a:lnTo>
                  <a:lnTo>
                    <a:pt x="232" y="727"/>
                  </a:lnTo>
                  <a:lnTo>
                    <a:pt x="236" y="736"/>
                  </a:lnTo>
                  <a:lnTo>
                    <a:pt x="239" y="746"/>
                  </a:lnTo>
                  <a:lnTo>
                    <a:pt x="240" y="757"/>
                  </a:lnTo>
                  <a:lnTo>
                    <a:pt x="241" y="767"/>
                  </a:lnTo>
                  <a:lnTo>
                    <a:pt x="240" y="778"/>
                  </a:lnTo>
                  <a:lnTo>
                    <a:pt x="239" y="789"/>
                  </a:lnTo>
                  <a:lnTo>
                    <a:pt x="236" y="798"/>
                  </a:lnTo>
                  <a:lnTo>
                    <a:pt x="232" y="808"/>
                  </a:lnTo>
                  <a:lnTo>
                    <a:pt x="228" y="818"/>
                  </a:lnTo>
                  <a:lnTo>
                    <a:pt x="223" y="826"/>
                  </a:lnTo>
                  <a:lnTo>
                    <a:pt x="216" y="834"/>
                  </a:lnTo>
                  <a:lnTo>
                    <a:pt x="210" y="841"/>
                  </a:lnTo>
                  <a:lnTo>
                    <a:pt x="202" y="849"/>
                  </a:lnTo>
                  <a:lnTo>
                    <a:pt x="194" y="854"/>
                  </a:lnTo>
                  <a:lnTo>
                    <a:pt x="185" y="859"/>
                  </a:lnTo>
                  <a:lnTo>
                    <a:pt x="177" y="864"/>
                  </a:lnTo>
                  <a:lnTo>
                    <a:pt x="167" y="868"/>
                  </a:lnTo>
                  <a:lnTo>
                    <a:pt x="156" y="870"/>
                  </a:lnTo>
                  <a:lnTo>
                    <a:pt x="146" y="872"/>
                  </a:lnTo>
                  <a:lnTo>
                    <a:pt x="135" y="872"/>
                  </a:lnTo>
                  <a:close/>
                  <a:moveTo>
                    <a:pt x="271" y="180"/>
                  </a:moveTo>
                  <a:lnTo>
                    <a:pt x="511" y="180"/>
                  </a:lnTo>
                  <a:lnTo>
                    <a:pt x="511" y="361"/>
                  </a:lnTo>
                  <a:lnTo>
                    <a:pt x="271" y="361"/>
                  </a:lnTo>
                  <a:lnTo>
                    <a:pt x="271" y="180"/>
                  </a:lnTo>
                  <a:close/>
                  <a:moveTo>
                    <a:pt x="632" y="722"/>
                  </a:moveTo>
                  <a:lnTo>
                    <a:pt x="271" y="722"/>
                  </a:lnTo>
                  <a:lnTo>
                    <a:pt x="271" y="391"/>
                  </a:lnTo>
                  <a:lnTo>
                    <a:pt x="526" y="391"/>
                  </a:lnTo>
                  <a:lnTo>
                    <a:pt x="632" y="391"/>
                  </a:lnTo>
                  <a:lnTo>
                    <a:pt x="632" y="722"/>
                  </a:lnTo>
                  <a:close/>
                  <a:moveTo>
                    <a:pt x="688" y="877"/>
                  </a:moveTo>
                  <a:lnTo>
                    <a:pt x="627" y="817"/>
                  </a:lnTo>
                  <a:lnTo>
                    <a:pt x="625" y="814"/>
                  </a:lnTo>
                  <a:lnTo>
                    <a:pt x="622" y="813"/>
                  </a:lnTo>
                  <a:lnTo>
                    <a:pt x="619" y="812"/>
                  </a:lnTo>
                  <a:lnTo>
                    <a:pt x="616" y="812"/>
                  </a:lnTo>
                  <a:lnTo>
                    <a:pt x="262" y="812"/>
                  </a:lnTo>
                  <a:lnTo>
                    <a:pt x="266" y="802"/>
                  </a:lnTo>
                  <a:lnTo>
                    <a:pt x="269" y="790"/>
                  </a:lnTo>
                  <a:lnTo>
                    <a:pt x="270" y="779"/>
                  </a:lnTo>
                  <a:lnTo>
                    <a:pt x="271" y="767"/>
                  </a:lnTo>
                  <a:lnTo>
                    <a:pt x="270" y="760"/>
                  </a:lnTo>
                  <a:lnTo>
                    <a:pt x="270" y="752"/>
                  </a:lnTo>
                  <a:lnTo>
                    <a:pt x="647" y="752"/>
                  </a:lnTo>
                  <a:lnTo>
                    <a:pt x="649" y="752"/>
                  </a:lnTo>
                  <a:lnTo>
                    <a:pt x="652" y="751"/>
                  </a:lnTo>
                  <a:lnTo>
                    <a:pt x="655" y="749"/>
                  </a:lnTo>
                  <a:lnTo>
                    <a:pt x="657" y="748"/>
                  </a:lnTo>
                  <a:lnTo>
                    <a:pt x="659" y="746"/>
                  </a:lnTo>
                  <a:lnTo>
                    <a:pt x="660" y="743"/>
                  </a:lnTo>
                  <a:lnTo>
                    <a:pt x="661" y="741"/>
                  </a:lnTo>
                  <a:lnTo>
                    <a:pt x="662" y="737"/>
                  </a:lnTo>
                  <a:lnTo>
                    <a:pt x="662" y="376"/>
                  </a:lnTo>
                  <a:lnTo>
                    <a:pt x="661" y="373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5" y="364"/>
                  </a:lnTo>
                  <a:lnTo>
                    <a:pt x="652" y="362"/>
                  </a:lnTo>
                  <a:lnTo>
                    <a:pt x="649" y="361"/>
                  </a:lnTo>
                  <a:lnTo>
                    <a:pt x="647" y="361"/>
                  </a:lnTo>
                  <a:lnTo>
                    <a:pt x="541" y="361"/>
                  </a:lnTo>
                  <a:lnTo>
                    <a:pt x="541" y="165"/>
                  </a:lnTo>
                  <a:lnTo>
                    <a:pt x="541" y="163"/>
                  </a:lnTo>
                  <a:lnTo>
                    <a:pt x="540" y="160"/>
                  </a:lnTo>
                  <a:lnTo>
                    <a:pt x="539" y="158"/>
                  </a:lnTo>
                  <a:lnTo>
                    <a:pt x="537" y="155"/>
                  </a:lnTo>
                  <a:lnTo>
                    <a:pt x="535" y="154"/>
                  </a:lnTo>
                  <a:lnTo>
                    <a:pt x="532" y="152"/>
                  </a:lnTo>
                  <a:lnTo>
                    <a:pt x="529" y="151"/>
                  </a:lnTo>
                  <a:lnTo>
                    <a:pt x="526" y="150"/>
                  </a:lnTo>
                  <a:lnTo>
                    <a:pt x="256" y="150"/>
                  </a:lnTo>
                  <a:lnTo>
                    <a:pt x="253" y="151"/>
                  </a:lnTo>
                  <a:lnTo>
                    <a:pt x="250" y="151"/>
                  </a:lnTo>
                  <a:lnTo>
                    <a:pt x="247" y="154"/>
                  </a:lnTo>
                  <a:lnTo>
                    <a:pt x="245" y="155"/>
                  </a:lnTo>
                  <a:lnTo>
                    <a:pt x="243" y="158"/>
                  </a:lnTo>
                  <a:lnTo>
                    <a:pt x="242" y="160"/>
                  </a:lnTo>
                  <a:lnTo>
                    <a:pt x="241" y="163"/>
                  </a:lnTo>
                  <a:lnTo>
                    <a:pt x="241" y="165"/>
                  </a:lnTo>
                  <a:lnTo>
                    <a:pt x="241" y="376"/>
                  </a:lnTo>
                  <a:lnTo>
                    <a:pt x="241" y="683"/>
                  </a:lnTo>
                  <a:lnTo>
                    <a:pt x="235" y="675"/>
                  </a:lnTo>
                  <a:lnTo>
                    <a:pt x="228" y="669"/>
                  </a:lnTo>
                  <a:lnTo>
                    <a:pt x="221" y="662"/>
                  </a:lnTo>
                  <a:lnTo>
                    <a:pt x="213" y="657"/>
                  </a:lnTo>
                  <a:lnTo>
                    <a:pt x="206" y="652"/>
                  </a:lnTo>
                  <a:lnTo>
                    <a:pt x="198" y="647"/>
                  </a:lnTo>
                  <a:lnTo>
                    <a:pt x="190" y="643"/>
                  </a:lnTo>
                  <a:lnTo>
                    <a:pt x="180" y="640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10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9"/>
                  </a:lnTo>
                  <a:lnTo>
                    <a:pt x="61" y="22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2"/>
                  </a:lnTo>
                  <a:lnTo>
                    <a:pt x="142" y="632"/>
                  </a:lnTo>
                  <a:lnTo>
                    <a:pt x="135" y="632"/>
                  </a:lnTo>
                  <a:lnTo>
                    <a:pt x="121" y="632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2" y="642"/>
                  </a:lnTo>
                  <a:lnTo>
                    <a:pt x="71" y="648"/>
                  </a:lnTo>
                  <a:lnTo>
                    <a:pt x="60" y="655"/>
                  </a:lnTo>
                  <a:lnTo>
                    <a:pt x="49" y="662"/>
                  </a:lnTo>
                  <a:lnTo>
                    <a:pt x="40" y="672"/>
                  </a:lnTo>
                  <a:lnTo>
                    <a:pt x="31" y="682"/>
                  </a:lnTo>
                  <a:lnTo>
                    <a:pt x="24" y="691"/>
                  </a:lnTo>
                  <a:lnTo>
                    <a:pt x="16" y="703"/>
                  </a:lnTo>
                  <a:lnTo>
                    <a:pt x="11" y="715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3"/>
                  </a:lnTo>
                  <a:lnTo>
                    <a:pt x="0" y="767"/>
                  </a:lnTo>
                  <a:lnTo>
                    <a:pt x="1" y="781"/>
                  </a:lnTo>
                  <a:lnTo>
                    <a:pt x="3" y="794"/>
                  </a:lnTo>
                  <a:lnTo>
                    <a:pt x="6" y="807"/>
                  </a:lnTo>
                  <a:lnTo>
                    <a:pt x="11" y="820"/>
                  </a:lnTo>
                  <a:lnTo>
                    <a:pt x="16" y="832"/>
                  </a:lnTo>
                  <a:lnTo>
                    <a:pt x="24" y="842"/>
                  </a:lnTo>
                  <a:lnTo>
                    <a:pt x="31" y="853"/>
                  </a:lnTo>
                  <a:lnTo>
                    <a:pt x="40" y="863"/>
                  </a:lnTo>
                  <a:lnTo>
                    <a:pt x="49" y="871"/>
                  </a:lnTo>
                  <a:lnTo>
                    <a:pt x="60" y="880"/>
                  </a:lnTo>
                  <a:lnTo>
                    <a:pt x="71" y="886"/>
                  </a:lnTo>
                  <a:lnTo>
                    <a:pt x="82" y="892"/>
                  </a:lnTo>
                  <a:lnTo>
                    <a:pt x="95" y="896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2"/>
                  </a:lnTo>
                  <a:lnTo>
                    <a:pt x="144" y="902"/>
                  </a:lnTo>
                  <a:lnTo>
                    <a:pt x="152" y="901"/>
                  </a:lnTo>
                  <a:lnTo>
                    <a:pt x="161" y="900"/>
                  </a:lnTo>
                  <a:lnTo>
                    <a:pt x="169" y="898"/>
                  </a:lnTo>
                  <a:lnTo>
                    <a:pt x="185" y="893"/>
                  </a:lnTo>
                  <a:lnTo>
                    <a:pt x="200" y="886"/>
                  </a:lnTo>
                  <a:lnTo>
                    <a:pt x="214" y="878"/>
                  </a:lnTo>
                  <a:lnTo>
                    <a:pt x="226" y="867"/>
                  </a:lnTo>
                  <a:lnTo>
                    <a:pt x="238" y="855"/>
                  </a:lnTo>
                  <a:lnTo>
                    <a:pt x="247" y="842"/>
                  </a:lnTo>
                  <a:lnTo>
                    <a:pt x="611" y="842"/>
                  </a:lnTo>
                  <a:lnTo>
                    <a:pt x="666" y="898"/>
                  </a:lnTo>
                  <a:lnTo>
                    <a:pt x="668" y="900"/>
                  </a:lnTo>
                  <a:lnTo>
                    <a:pt x="671" y="901"/>
                  </a:lnTo>
                  <a:lnTo>
                    <a:pt x="674" y="902"/>
                  </a:lnTo>
                  <a:lnTo>
                    <a:pt x="677" y="902"/>
                  </a:lnTo>
                  <a:lnTo>
                    <a:pt x="679" y="902"/>
                  </a:lnTo>
                  <a:lnTo>
                    <a:pt x="682" y="901"/>
                  </a:lnTo>
                  <a:lnTo>
                    <a:pt x="685" y="900"/>
                  </a:lnTo>
                  <a:lnTo>
                    <a:pt x="688" y="898"/>
                  </a:lnTo>
                  <a:lnTo>
                    <a:pt x="689" y="896"/>
                  </a:lnTo>
                  <a:lnTo>
                    <a:pt x="691" y="893"/>
                  </a:lnTo>
                  <a:lnTo>
                    <a:pt x="691" y="891"/>
                  </a:lnTo>
                  <a:lnTo>
                    <a:pt x="692" y="887"/>
                  </a:lnTo>
                  <a:lnTo>
                    <a:pt x="691" y="884"/>
                  </a:lnTo>
                  <a:lnTo>
                    <a:pt x="691" y="882"/>
                  </a:lnTo>
                  <a:lnTo>
                    <a:pt x="689" y="879"/>
                  </a:lnTo>
                  <a:lnTo>
                    <a:pt x="688" y="877"/>
                  </a:lnTo>
                  <a:lnTo>
                    <a:pt x="688" y="8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37" name="Freeform 228">
              <a:extLst>
                <a:ext uri="{FF2B5EF4-FFF2-40B4-BE49-F238E27FC236}">
                  <a16:creationId xmlns:a16="http://schemas.microsoft.com/office/drawing/2014/main" id="{9745273A-0D0E-C3C4-F126-8A1510FF7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2709863"/>
              <a:ext cx="42863" cy="9525"/>
            </a:xfrm>
            <a:custGeom>
              <a:avLst/>
              <a:gdLst>
                <a:gd name="T0" fmla="*/ 0 w 135"/>
                <a:gd name="T1" fmla="*/ 15 h 30"/>
                <a:gd name="T2" fmla="*/ 0 w 135"/>
                <a:gd name="T3" fmla="*/ 18 h 30"/>
                <a:gd name="T4" fmla="*/ 1 w 135"/>
                <a:gd name="T5" fmla="*/ 21 h 30"/>
                <a:gd name="T6" fmla="*/ 3 w 135"/>
                <a:gd name="T7" fmla="*/ 23 h 30"/>
                <a:gd name="T8" fmla="*/ 4 w 135"/>
                <a:gd name="T9" fmla="*/ 26 h 30"/>
                <a:gd name="T10" fmla="*/ 6 w 135"/>
                <a:gd name="T11" fmla="*/ 27 h 30"/>
                <a:gd name="T12" fmla="*/ 10 w 135"/>
                <a:gd name="T13" fmla="*/ 29 h 30"/>
                <a:gd name="T14" fmla="*/ 12 w 135"/>
                <a:gd name="T15" fmla="*/ 29 h 30"/>
                <a:gd name="T16" fmla="*/ 15 w 135"/>
                <a:gd name="T17" fmla="*/ 30 h 30"/>
                <a:gd name="T18" fmla="*/ 120 w 135"/>
                <a:gd name="T19" fmla="*/ 30 h 30"/>
                <a:gd name="T20" fmla="*/ 123 w 135"/>
                <a:gd name="T21" fmla="*/ 29 h 30"/>
                <a:gd name="T22" fmla="*/ 126 w 135"/>
                <a:gd name="T23" fmla="*/ 28 h 30"/>
                <a:gd name="T24" fmla="*/ 129 w 135"/>
                <a:gd name="T25" fmla="*/ 27 h 30"/>
                <a:gd name="T26" fmla="*/ 131 w 135"/>
                <a:gd name="T27" fmla="*/ 26 h 30"/>
                <a:gd name="T28" fmla="*/ 133 w 135"/>
                <a:gd name="T29" fmla="*/ 23 h 30"/>
                <a:gd name="T30" fmla="*/ 134 w 135"/>
                <a:gd name="T31" fmla="*/ 21 h 30"/>
                <a:gd name="T32" fmla="*/ 135 w 135"/>
                <a:gd name="T33" fmla="*/ 18 h 30"/>
                <a:gd name="T34" fmla="*/ 135 w 135"/>
                <a:gd name="T35" fmla="*/ 15 h 30"/>
                <a:gd name="T36" fmla="*/ 135 w 135"/>
                <a:gd name="T37" fmla="*/ 12 h 30"/>
                <a:gd name="T38" fmla="*/ 134 w 135"/>
                <a:gd name="T39" fmla="*/ 9 h 30"/>
                <a:gd name="T40" fmla="*/ 133 w 135"/>
                <a:gd name="T41" fmla="*/ 7 h 30"/>
                <a:gd name="T42" fmla="*/ 131 w 135"/>
                <a:gd name="T43" fmla="*/ 5 h 30"/>
                <a:gd name="T44" fmla="*/ 129 w 135"/>
                <a:gd name="T45" fmla="*/ 3 h 30"/>
                <a:gd name="T46" fmla="*/ 126 w 135"/>
                <a:gd name="T47" fmla="*/ 1 h 30"/>
                <a:gd name="T48" fmla="*/ 123 w 135"/>
                <a:gd name="T49" fmla="*/ 0 h 30"/>
                <a:gd name="T50" fmla="*/ 120 w 135"/>
                <a:gd name="T51" fmla="*/ 0 h 30"/>
                <a:gd name="T52" fmla="*/ 15 w 135"/>
                <a:gd name="T53" fmla="*/ 0 h 30"/>
                <a:gd name="T54" fmla="*/ 12 w 135"/>
                <a:gd name="T55" fmla="*/ 0 h 30"/>
                <a:gd name="T56" fmla="*/ 10 w 135"/>
                <a:gd name="T57" fmla="*/ 1 h 30"/>
                <a:gd name="T58" fmla="*/ 6 w 135"/>
                <a:gd name="T59" fmla="*/ 3 h 30"/>
                <a:gd name="T60" fmla="*/ 4 w 135"/>
                <a:gd name="T61" fmla="*/ 5 h 30"/>
                <a:gd name="T62" fmla="*/ 3 w 135"/>
                <a:gd name="T63" fmla="*/ 7 h 30"/>
                <a:gd name="T64" fmla="*/ 1 w 135"/>
                <a:gd name="T65" fmla="*/ 9 h 30"/>
                <a:gd name="T66" fmla="*/ 0 w 135"/>
                <a:gd name="T67" fmla="*/ 12 h 30"/>
                <a:gd name="T68" fmla="*/ 0 w 135"/>
                <a:gd name="T69" fmla="*/ 15 h 30"/>
                <a:gd name="T70" fmla="*/ 0 w 135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30">
                  <a:moveTo>
                    <a:pt x="0" y="15"/>
                  </a:move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20" y="30"/>
                  </a:lnTo>
                  <a:lnTo>
                    <a:pt x="123" y="29"/>
                  </a:lnTo>
                  <a:lnTo>
                    <a:pt x="126" y="28"/>
                  </a:lnTo>
                  <a:lnTo>
                    <a:pt x="129" y="27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5" y="18"/>
                  </a:lnTo>
                  <a:lnTo>
                    <a:pt x="135" y="15"/>
                  </a:lnTo>
                  <a:lnTo>
                    <a:pt x="135" y="12"/>
                  </a:lnTo>
                  <a:lnTo>
                    <a:pt x="134" y="9"/>
                  </a:lnTo>
                  <a:lnTo>
                    <a:pt x="133" y="7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38" name="Freeform 229">
              <a:extLst>
                <a:ext uri="{FF2B5EF4-FFF2-40B4-BE49-F238E27FC236}">
                  <a16:creationId xmlns:a16="http://schemas.microsoft.com/office/drawing/2014/main" id="{1C6FDA5D-8E56-5235-C12B-F08C33A31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2593975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EA517DD-7B28-3878-DF4B-39BD33FB3F9C}"/>
              </a:ext>
            </a:extLst>
          </p:cNvPr>
          <p:cNvGrpSpPr/>
          <p:nvPr/>
        </p:nvGrpSpPr>
        <p:grpSpPr>
          <a:xfrm>
            <a:off x="3913052" y="4744932"/>
            <a:ext cx="287338" cy="287338"/>
            <a:chOff x="8743951" y="1343025"/>
            <a:chExt cx="287338" cy="287338"/>
          </a:xfrm>
          <a:solidFill>
            <a:srgbClr val="78D2D2"/>
          </a:solidFill>
        </p:grpSpPr>
        <p:sp>
          <p:nvSpPr>
            <p:cNvPr id="40" name="Freeform 369">
              <a:extLst>
                <a:ext uri="{FF2B5EF4-FFF2-40B4-BE49-F238E27FC236}">
                  <a16:creationId xmlns:a16="http://schemas.microsoft.com/office/drawing/2014/main" id="{120D99BE-32DD-4247-8467-990E0FB31E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7763" y="1343025"/>
              <a:ext cx="171450" cy="53975"/>
            </a:xfrm>
            <a:custGeom>
              <a:avLst/>
              <a:gdLst>
                <a:gd name="T0" fmla="*/ 209 w 541"/>
                <a:gd name="T1" fmla="*/ 33 h 167"/>
                <a:gd name="T2" fmla="*/ 267 w 541"/>
                <a:gd name="T3" fmla="*/ 47 h 167"/>
                <a:gd name="T4" fmla="*/ 356 w 541"/>
                <a:gd name="T5" fmla="*/ 75 h 167"/>
                <a:gd name="T6" fmla="*/ 402 w 541"/>
                <a:gd name="T7" fmla="*/ 84 h 167"/>
                <a:gd name="T8" fmla="*/ 442 w 541"/>
                <a:gd name="T9" fmla="*/ 83 h 167"/>
                <a:gd name="T10" fmla="*/ 449 w 541"/>
                <a:gd name="T11" fmla="*/ 92 h 167"/>
                <a:gd name="T12" fmla="*/ 398 w 541"/>
                <a:gd name="T13" fmla="*/ 122 h 167"/>
                <a:gd name="T14" fmla="*/ 344 w 541"/>
                <a:gd name="T15" fmla="*/ 136 h 167"/>
                <a:gd name="T16" fmla="*/ 289 w 541"/>
                <a:gd name="T17" fmla="*/ 134 h 167"/>
                <a:gd name="T18" fmla="*/ 218 w 541"/>
                <a:gd name="T19" fmla="*/ 116 h 167"/>
                <a:gd name="T20" fmla="*/ 125 w 541"/>
                <a:gd name="T21" fmla="*/ 85 h 167"/>
                <a:gd name="T22" fmla="*/ 82 w 541"/>
                <a:gd name="T23" fmla="*/ 77 h 167"/>
                <a:gd name="T24" fmla="*/ 66 w 541"/>
                <a:gd name="T25" fmla="*/ 76 h 167"/>
                <a:gd name="T26" fmla="*/ 108 w 541"/>
                <a:gd name="T27" fmla="*/ 48 h 167"/>
                <a:gd name="T28" fmla="*/ 151 w 541"/>
                <a:gd name="T29" fmla="*/ 33 h 167"/>
                <a:gd name="T30" fmla="*/ 181 w 541"/>
                <a:gd name="T31" fmla="*/ 31 h 167"/>
                <a:gd name="T32" fmla="*/ 43 w 541"/>
                <a:gd name="T33" fmla="*/ 109 h 167"/>
                <a:gd name="T34" fmla="*/ 80 w 541"/>
                <a:gd name="T35" fmla="*/ 107 h 167"/>
                <a:gd name="T36" fmla="*/ 119 w 541"/>
                <a:gd name="T37" fmla="*/ 115 h 167"/>
                <a:gd name="T38" fmla="*/ 210 w 541"/>
                <a:gd name="T39" fmla="*/ 145 h 167"/>
                <a:gd name="T40" fmla="*/ 285 w 541"/>
                <a:gd name="T41" fmla="*/ 164 h 167"/>
                <a:gd name="T42" fmla="*/ 339 w 541"/>
                <a:gd name="T43" fmla="*/ 166 h 167"/>
                <a:gd name="T44" fmla="*/ 383 w 541"/>
                <a:gd name="T45" fmla="*/ 159 h 167"/>
                <a:gd name="T46" fmla="*/ 425 w 541"/>
                <a:gd name="T47" fmla="*/ 143 h 167"/>
                <a:gd name="T48" fmla="*/ 465 w 541"/>
                <a:gd name="T49" fmla="*/ 118 h 167"/>
                <a:gd name="T50" fmla="*/ 503 w 541"/>
                <a:gd name="T51" fmla="*/ 84 h 167"/>
                <a:gd name="T52" fmla="*/ 539 w 541"/>
                <a:gd name="T53" fmla="*/ 40 h 167"/>
                <a:gd name="T54" fmla="*/ 540 w 541"/>
                <a:gd name="T55" fmla="*/ 25 h 167"/>
                <a:gd name="T56" fmla="*/ 527 w 541"/>
                <a:gd name="T57" fmla="*/ 16 h 167"/>
                <a:gd name="T58" fmla="*/ 506 w 541"/>
                <a:gd name="T59" fmla="*/ 27 h 167"/>
                <a:gd name="T60" fmla="*/ 469 w 541"/>
                <a:gd name="T61" fmla="*/ 45 h 167"/>
                <a:gd name="T62" fmla="*/ 432 w 541"/>
                <a:gd name="T63" fmla="*/ 54 h 167"/>
                <a:gd name="T64" fmla="*/ 390 w 541"/>
                <a:gd name="T65" fmla="*/ 51 h 167"/>
                <a:gd name="T66" fmla="*/ 333 w 541"/>
                <a:gd name="T67" fmla="*/ 37 h 167"/>
                <a:gd name="T68" fmla="*/ 244 w 541"/>
                <a:gd name="T69" fmla="*/ 10 h 167"/>
                <a:gd name="T70" fmla="*/ 197 w 541"/>
                <a:gd name="T71" fmla="*/ 1 h 167"/>
                <a:gd name="T72" fmla="*/ 156 w 541"/>
                <a:gd name="T73" fmla="*/ 2 h 167"/>
                <a:gd name="T74" fmla="*/ 122 w 541"/>
                <a:gd name="T75" fmla="*/ 10 h 167"/>
                <a:gd name="T76" fmla="*/ 89 w 541"/>
                <a:gd name="T77" fmla="*/ 24 h 167"/>
                <a:gd name="T78" fmla="*/ 56 w 541"/>
                <a:gd name="T79" fmla="*/ 45 h 167"/>
                <a:gd name="T80" fmla="*/ 24 w 541"/>
                <a:gd name="T81" fmla="*/ 73 h 167"/>
                <a:gd name="T82" fmla="*/ 1 w 541"/>
                <a:gd name="T83" fmla="*/ 101 h 167"/>
                <a:gd name="T84" fmla="*/ 3 w 541"/>
                <a:gd name="T85" fmla="*/ 116 h 167"/>
                <a:gd name="T86" fmla="*/ 18 w 541"/>
                <a:gd name="T87" fmla="*/ 1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1" h="167">
                  <a:moveTo>
                    <a:pt x="181" y="31"/>
                  </a:moveTo>
                  <a:lnTo>
                    <a:pt x="195" y="31"/>
                  </a:lnTo>
                  <a:lnTo>
                    <a:pt x="209" y="33"/>
                  </a:lnTo>
                  <a:lnTo>
                    <a:pt x="224" y="35"/>
                  </a:lnTo>
                  <a:lnTo>
                    <a:pt x="238" y="39"/>
                  </a:lnTo>
                  <a:lnTo>
                    <a:pt x="267" y="47"/>
                  </a:lnTo>
                  <a:lnTo>
                    <a:pt x="296" y="57"/>
                  </a:lnTo>
                  <a:lnTo>
                    <a:pt x="324" y="66"/>
                  </a:lnTo>
                  <a:lnTo>
                    <a:pt x="356" y="75"/>
                  </a:lnTo>
                  <a:lnTo>
                    <a:pt x="371" y="78"/>
                  </a:lnTo>
                  <a:lnTo>
                    <a:pt x="387" y="81"/>
                  </a:lnTo>
                  <a:lnTo>
                    <a:pt x="402" y="84"/>
                  </a:lnTo>
                  <a:lnTo>
                    <a:pt x="418" y="84"/>
                  </a:lnTo>
                  <a:lnTo>
                    <a:pt x="430" y="84"/>
                  </a:lnTo>
                  <a:lnTo>
                    <a:pt x="442" y="83"/>
                  </a:lnTo>
                  <a:lnTo>
                    <a:pt x="453" y="80"/>
                  </a:lnTo>
                  <a:lnTo>
                    <a:pt x="465" y="77"/>
                  </a:lnTo>
                  <a:lnTo>
                    <a:pt x="449" y="92"/>
                  </a:lnTo>
                  <a:lnTo>
                    <a:pt x="433" y="104"/>
                  </a:lnTo>
                  <a:lnTo>
                    <a:pt x="416" y="114"/>
                  </a:lnTo>
                  <a:lnTo>
                    <a:pt x="398" y="122"/>
                  </a:lnTo>
                  <a:lnTo>
                    <a:pt x="380" y="129"/>
                  </a:lnTo>
                  <a:lnTo>
                    <a:pt x="363" y="133"/>
                  </a:lnTo>
                  <a:lnTo>
                    <a:pt x="344" y="136"/>
                  </a:lnTo>
                  <a:lnTo>
                    <a:pt x="324" y="137"/>
                  </a:lnTo>
                  <a:lnTo>
                    <a:pt x="307" y="136"/>
                  </a:lnTo>
                  <a:lnTo>
                    <a:pt x="289" y="134"/>
                  </a:lnTo>
                  <a:lnTo>
                    <a:pt x="271" y="131"/>
                  </a:lnTo>
                  <a:lnTo>
                    <a:pt x="254" y="127"/>
                  </a:lnTo>
                  <a:lnTo>
                    <a:pt x="218" y="116"/>
                  </a:lnTo>
                  <a:lnTo>
                    <a:pt x="184" y="104"/>
                  </a:lnTo>
                  <a:lnTo>
                    <a:pt x="154" y="94"/>
                  </a:lnTo>
                  <a:lnTo>
                    <a:pt x="125" y="85"/>
                  </a:lnTo>
                  <a:lnTo>
                    <a:pt x="110" y="81"/>
                  </a:lnTo>
                  <a:lnTo>
                    <a:pt x="96" y="78"/>
                  </a:lnTo>
                  <a:lnTo>
                    <a:pt x="82" y="77"/>
                  </a:lnTo>
                  <a:lnTo>
                    <a:pt x="68" y="76"/>
                  </a:lnTo>
                  <a:lnTo>
                    <a:pt x="67" y="76"/>
                  </a:lnTo>
                  <a:lnTo>
                    <a:pt x="66" y="76"/>
                  </a:lnTo>
                  <a:lnTo>
                    <a:pt x="80" y="65"/>
                  </a:lnTo>
                  <a:lnTo>
                    <a:pt x="94" y="56"/>
                  </a:lnTo>
                  <a:lnTo>
                    <a:pt x="108" y="48"/>
                  </a:lnTo>
                  <a:lnTo>
                    <a:pt x="122" y="42"/>
                  </a:lnTo>
                  <a:lnTo>
                    <a:pt x="136" y="36"/>
                  </a:lnTo>
                  <a:lnTo>
                    <a:pt x="151" y="33"/>
                  </a:lnTo>
                  <a:lnTo>
                    <a:pt x="166" y="31"/>
                  </a:lnTo>
                  <a:lnTo>
                    <a:pt x="181" y="31"/>
                  </a:lnTo>
                  <a:lnTo>
                    <a:pt x="181" y="31"/>
                  </a:lnTo>
                  <a:close/>
                  <a:moveTo>
                    <a:pt x="23" y="119"/>
                  </a:moveTo>
                  <a:lnTo>
                    <a:pt x="33" y="114"/>
                  </a:lnTo>
                  <a:lnTo>
                    <a:pt x="43" y="109"/>
                  </a:lnTo>
                  <a:lnTo>
                    <a:pt x="55" y="107"/>
                  </a:lnTo>
                  <a:lnTo>
                    <a:pt x="68" y="106"/>
                  </a:lnTo>
                  <a:lnTo>
                    <a:pt x="80" y="107"/>
                  </a:lnTo>
                  <a:lnTo>
                    <a:pt x="93" y="108"/>
                  </a:lnTo>
                  <a:lnTo>
                    <a:pt x="106" y="112"/>
                  </a:lnTo>
                  <a:lnTo>
                    <a:pt x="119" y="115"/>
                  </a:lnTo>
                  <a:lnTo>
                    <a:pt x="145" y="123"/>
                  </a:lnTo>
                  <a:lnTo>
                    <a:pt x="174" y="133"/>
                  </a:lnTo>
                  <a:lnTo>
                    <a:pt x="210" y="145"/>
                  </a:lnTo>
                  <a:lnTo>
                    <a:pt x="246" y="155"/>
                  </a:lnTo>
                  <a:lnTo>
                    <a:pt x="265" y="161"/>
                  </a:lnTo>
                  <a:lnTo>
                    <a:pt x="285" y="164"/>
                  </a:lnTo>
                  <a:lnTo>
                    <a:pt x="305" y="166"/>
                  </a:lnTo>
                  <a:lnTo>
                    <a:pt x="324" y="167"/>
                  </a:lnTo>
                  <a:lnTo>
                    <a:pt x="339" y="166"/>
                  </a:lnTo>
                  <a:lnTo>
                    <a:pt x="355" y="165"/>
                  </a:lnTo>
                  <a:lnTo>
                    <a:pt x="370" y="163"/>
                  </a:lnTo>
                  <a:lnTo>
                    <a:pt x="383" y="159"/>
                  </a:lnTo>
                  <a:lnTo>
                    <a:pt x="397" y="154"/>
                  </a:lnTo>
                  <a:lnTo>
                    <a:pt x="411" y="149"/>
                  </a:lnTo>
                  <a:lnTo>
                    <a:pt x="425" y="143"/>
                  </a:lnTo>
                  <a:lnTo>
                    <a:pt x="438" y="135"/>
                  </a:lnTo>
                  <a:lnTo>
                    <a:pt x="451" y="127"/>
                  </a:lnTo>
                  <a:lnTo>
                    <a:pt x="465" y="118"/>
                  </a:lnTo>
                  <a:lnTo>
                    <a:pt x="478" y="107"/>
                  </a:lnTo>
                  <a:lnTo>
                    <a:pt x="490" y="95"/>
                  </a:lnTo>
                  <a:lnTo>
                    <a:pt x="503" y="84"/>
                  </a:lnTo>
                  <a:lnTo>
                    <a:pt x="514" y="70"/>
                  </a:lnTo>
                  <a:lnTo>
                    <a:pt x="527" y="55"/>
                  </a:lnTo>
                  <a:lnTo>
                    <a:pt x="539" y="40"/>
                  </a:lnTo>
                  <a:lnTo>
                    <a:pt x="541" y="34"/>
                  </a:lnTo>
                  <a:lnTo>
                    <a:pt x="541" y="29"/>
                  </a:lnTo>
                  <a:lnTo>
                    <a:pt x="540" y="25"/>
                  </a:lnTo>
                  <a:lnTo>
                    <a:pt x="537" y="20"/>
                  </a:lnTo>
                  <a:lnTo>
                    <a:pt x="533" y="17"/>
                  </a:lnTo>
                  <a:lnTo>
                    <a:pt x="527" y="16"/>
                  </a:lnTo>
                  <a:lnTo>
                    <a:pt x="522" y="16"/>
                  </a:lnTo>
                  <a:lnTo>
                    <a:pt x="518" y="18"/>
                  </a:lnTo>
                  <a:lnTo>
                    <a:pt x="506" y="27"/>
                  </a:lnTo>
                  <a:lnTo>
                    <a:pt x="493" y="34"/>
                  </a:lnTo>
                  <a:lnTo>
                    <a:pt x="481" y="41"/>
                  </a:lnTo>
                  <a:lnTo>
                    <a:pt x="469" y="45"/>
                  </a:lnTo>
                  <a:lnTo>
                    <a:pt x="456" y="49"/>
                  </a:lnTo>
                  <a:lnTo>
                    <a:pt x="445" y="51"/>
                  </a:lnTo>
                  <a:lnTo>
                    <a:pt x="432" y="54"/>
                  </a:lnTo>
                  <a:lnTo>
                    <a:pt x="418" y="54"/>
                  </a:lnTo>
                  <a:lnTo>
                    <a:pt x="404" y="54"/>
                  </a:lnTo>
                  <a:lnTo>
                    <a:pt x="390" y="51"/>
                  </a:lnTo>
                  <a:lnTo>
                    <a:pt x="376" y="49"/>
                  </a:lnTo>
                  <a:lnTo>
                    <a:pt x="362" y="46"/>
                  </a:lnTo>
                  <a:lnTo>
                    <a:pt x="333" y="37"/>
                  </a:lnTo>
                  <a:lnTo>
                    <a:pt x="305" y="28"/>
                  </a:lnTo>
                  <a:lnTo>
                    <a:pt x="275" y="18"/>
                  </a:lnTo>
                  <a:lnTo>
                    <a:pt x="244" y="10"/>
                  </a:lnTo>
                  <a:lnTo>
                    <a:pt x="228" y="5"/>
                  </a:lnTo>
                  <a:lnTo>
                    <a:pt x="213" y="3"/>
                  </a:lnTo>
                  <a:lnTo>
                    <a:pt x="197" y="1"/>
                  </a:lnTo>
                  <a:lnTo>
                    <a:pt x="181" y="0"/>
                  </a:lnTo>
                  <a:lnTo>
                    <a:pt x="168" y="1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4" y="6"/>
                  </a:lnTo>
                  <a:lnTo>
                    <a:pt x="122" y="10"/>
                  </a:lnTo>
                  <a:lnTo>
                    <a:pt x="111" y="14"/>
                  </a:lnTo>
                  <a:lnTo>
                    <a:pt x="99" y="18"/>
                  </a:lnTo>
                  <a:lnTo>
                    <a:pt x="89" y="24"/>
                  </a:lnTo>
                  <a:lnTo>
                    <a:pt x="78" y="30"/>
                  </a:lnTo>
                  <a:lnTo>
                    <a:pt x="67" y="37"/>
                  </a:lnTo>
                  <a:lnTo>
                    <a:pt x="56" y="45"/>
                  </a:lnTo>
                  <a:lnTo>
                    <a:pt x="46" y="54"/>
                  </a:lnTo>
                  <a:lnTo>
                    <a:pt x="35" y="63"/>
                  </a:lnTo>
                  <a:lnTo>
                    <a:pt x="24" y="73"/>
                  </a:lnTo>
                  <a:lnTo>
                    <a:pt x="13" y="84"/>
                  </a:lnTo>
                  <a:lnTo>
                    <a:pt x="3" y="95"/>
                  </a:lnTo>
                  <a:lnTo>
                    <a:pt x="1" y="101"/>
                  </a:lnTo>
                  <a:lnTo>
                    <a:pt x="0" y="106"/>
                  </a:lnTo>
                  <a:lnTo>
                    <a:pt x="1" y="110"/>
                  </a:lnTo>
                  <a:lnTo>
                    <a:pt x="3" y="116"/>
                  </a:lnTo>
                  <a:lnTo>
                    <a:pt x="7" y="119"/>
                  </a:lnTo>
                  <a:lnTo>
                    <a:pt x="12" y="121"/>
                  </a:lnTo>
                  <a:lnTo>
                    <a:pt x="18" y="120"/>
                  </a:lnTo>
                  <a:lnTo>
                    <a:pt x="2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1" name="Freeform 370">
              <a:extLst>
                <a:ext uri="{FF2B5EF4-FFF2-40B4-BE49-F238E27FC236}">
                  <a16:creationId xmlns:a16="http://schemas.microsoft.com/office/drawing/2014/main" id="{174B52C9-B897-84B4-3274-EEA6C37F1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9676" y="1563688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0 h 30"/>
                <a:gd name="T6" fmla="*/ 9 w 91"/>
                <a:gd name="T7" fmla="*/ 1 h 30"/>
                <a:gd name="T8" fmla="*/ 7 w 91"/>
                <a:gd name="T9" fmla="*/ 2 h 30"/>
                <a:gd name="T10" fmla="*/ 5 w 91"/>
                <a:gd name="T11" fmla="*/ 4 h 30"/>
                <a:gd name="T12" fmla="*/ 3 w 91"/>
                <a:gd name="T13" fmla="*/ 6 h 30"/>
                <a:gd name="T14" fmla="*/ 2 w 91"/>
                <a:gd name="T15" fmla="*/ 10 h 30"/>
                <a:gd name="T16" fmla="*/ 1 w 91"/>
                <a:gd name="T17" fmla="*/ 12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1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1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2 h 30"/>
                <a:gd name="T56" fmla="*/ 90 w 91"/>
                <a:gd name="T57" fmla="*/ 10 h 30"/>
                <a:gd name="T58" fmla="*/ 88 w 91"/>
                <a:gd name="T59" fmla="*/ 6 h 30"/>
                <a:gd name="T60" fmla="*/ 87 w 91"/>
                <a:gd name="T61" fmla="*/ 4 h 30"/>
                <a:gd name="T62" fmla="*/ 83 w 91"/>
                <a:gd name="T63" fmla="*/ 2 h 30"/>
                <a:gd name="T64" fmla="*/ 81 w 91"/>
                <a:gd name="T65" fmla="*/ 1 h 30"/>
                <a:gd name="T66" fmla="*/ 78 w 91"/>
                <a:gd name="T67" fmla="*/ 0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88" y="6"/>
                  </a:lnTo>
                  <a:lnTo>
                    <a:pt x="87" y="4"/>
                  </a:lnTo>
                  <a:lnTo>
                    <a:pt x="83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2" name="Freeform 371">
              <a:extLst>
                <a:ext uri="{FF2B5EF4-FFF2-40B4-BE49-F238E27FC236}">
                  <a16:creationId xmlns:a16="http://schemas.microsoft.com/office/drawing/2014/main" id="{6340CC44-6612-B4B4-8773-22C00720B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9676" y="1592263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1 h 30"/>
                <a:gd name="T6" fmla="*/ 9 w 91"/>
                <a:gd name="T7" fmla="*/ 1 h 30"/>
                <a:gd name="T8" fmla="*/ 7 w 91"/>
                <a:gd name="T9" fmla="*/ 3 h 30"/>
                <a:gd name="T10" fmla="*/ 5 w 91"/>
                <a:gd name="T11" fmla="*/ 4 h 30"/>
                <a:gd name="T12" fmla="*/ 3 w 91"/>
                <a:gd name="T13" fmla="*/ 8 h 30"/>
                <a:gd name="T14" fmla="*/ 2 w 91"/>
                <a:gd name="T15" fmla="*/ 10 h 30"/>
                <a:gd name="T16" fmla="*/ 1 w 91"/>
                <a:gd name="T17" fmla="*/ 13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2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2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3 h 30"/>
                <a:gd name="T56" fmla="*/ 90 w 91"/>
                <a:gd name="T57" fmla="*/ 10 h 30"/>
                <a:gd name="T58" fmla="*/ 88 w 91"/>
                <a:gd name="T59" fmla="*/ 8 h 30"/>
                <a:gd name="T60" fmla="*/ 87 w 91"/>
                <a:gd name="T61" fmla="*/ 4 h 30"/>
                <a:gd name="T62" fmla="*/ 83 w 91"/>
                <a:gd name="T63" fmla="*/ 3 h 30"/>
                <a:gd name="T64" fmla="*/ 81 w 91"/>
                <a:gd name="T65" fmla="*/ 1 h 30"/>
                <a:gd name="T66" fmla="*/ 78 w 91"/>
                <a:gd name="T67" fmla="*/ 1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8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7" y="4"/>
                  </a:lnTo>
                  <a:lnTo>
                    <a:pt x="83" y="3"/>
                  </a:lnTo>
                  <a:lnTo>
                    <a:pt x="81" y="1"/>
                  </a:lnTo>
                  <a:lnTo>
                    <a:pt x="78" y="1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3" name="Freeform 372">
              <a:extLst>
                <a:ext uri="{FF2B5EF4-FFF2-40B4-BE49-F238E27FC236}">
                  <a16:creationId xmlns:a16="http://schemas.microsoft.com/office/drawing/2014/main" id="{8EFA04D5-DADA-EB5C-9E74-F69E55309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1113" y="15636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2 h 30"/>
                <a:gd name="T10" fmla="*/ 4 w 90"/>
                <a:gd name="T11" fmla="*/ 4 h 30"/>
                <a:gd name="T12" fmla="*/ 2 w 90"/>
                <a:gd name="T13" fmla="*/ 6 h 30"/>
                <a:gd name="T14" fmla="*/ 1 w 90"/>
                <a:gd name="T15" fmla="*/ 10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10 h 30"/>
                <a:gd name="T58" fmla="*/ 88 w 90"/>
                <a:gd name="T59" fmla="*/ 6 h 30"/>
                <a:gd name="T60" fmla="*/ 86 w 90"/>
                <a:gd name="T61" fmla="*/ 4 h 30"/>
                <a:gd name="T62" fmla="*/ 84 w 90"/>
                <a:gd name="T63" fmla="*/ 2 h 30"/>
                <a:gd name="T64" fmla="*/ 82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4" name="Freeform 373">
              <a:extLst>
                <a:ext uri="{FF2B5EF4-FFF2-40B4-BE49-F238E27FC236}">
                  <a16:creationId xmlns:a16="http://schemas.microsoft.com/office/drawing/2014/main" id="{DEFE2924-055D-E4D6-FCCD-F5234066A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1113" y="1592263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1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4 h 30"/>
                <a:gd name="T12" fmla="*/ 2 w 90"/>
                <a:gd name="T13" fmla="*/ 8 h 30"/>
                <a:gd name="T14" fmla="*/ 1 w 90"/>
                <a:gd name="T15" fmla="*/ 10 h 30"/>
                <a:gd name="T16" fmla="*/ 0 w 90"/>
                <a:gd name="T17" fmla="*/ 13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2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2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3 h 30"/>
                <a:gd name="T56" fmla="*/ 89 w 90"/>
                <a:gd name="T57" fmla="*/ 10 h 30"/>
                <a:gd name="T58" fmla="*/ 88 w 90"/>
                <a:gd name="T59" fmla="*/ 8 h 30"/>
                <a:gd name="T60" fmla="*/ 86 w 90"/>
                <a:gd name="T61" fmla="*/ 4 h 30"/>
                <a:gd name="T62" fmla="*/ 84 w 90"/>
                <a:gd name="T63" fmla="*/ 3 h 30"/>
                <a:gd name="T64" fmla="*/ 82 w 90"/>
                <a:gd name="T65" fmla="*/ 1 h 30"/>
                <a:gd name="T66" fmla="*/ 78 w 90"/>
                <a:gd name="T67" fmla="*/ 1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2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2" y="1"/>
                  </a:lnTo>
                  <a:lnTo>
                    <a:pt x="78" y="1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5" name="Freeform 374">
              <a:extLst>
                <a:ext uri="{FF2B5EF4-FFF2-40B4-BE49-F238E27FC236}">
                  <a16:creationId xmlns:a16="http://schemas.microsoft.com/office/drawing/2014/main" id="{79056266-CC9B-8D94-0F22-C413EA7B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4138" y="1563688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1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2 h 30"/>
                <a:gd name="T22" fmla="*/ 89 w 90"/>
                <a:gd name="T23" fmla="*/ 10 h 30"/>
                <a:gd name="T24" fmla="*/ 87 w 90"/>
                <a:gd name="T25" fmla="*/ 6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0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0 h 30"/>
                <a:gd name="T40" fmla="*/ 9 w 90"/>
                <a:gd name="T41" fmla="*/ 1 h 30"/>
                <a:gd name="T42" fmla="*/ 7 w 90"/>
                <a:gd name="T43" fmla="*/ 2 h 30"/>
                <a:gd name="T44" fmla="*/ 5 w 90"/>
                <a:gd name="T45" fmla="*/ 4 h 30"/>
                <a:gd name="T46" fmla="*/ 2 w 90"/>
                <a:gd name="T47" fmla="*/ 6 h 30"/>
                <a:gd name="T48" fmla="*/ 1 w 90"/>
                <a:gd name="T49" fmla="*/ 10 h 30"/>
                <a:gd name="T50" fmla="*/ 0 w 90"/>
                <a:gd name="T51" fmla="*/ 12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1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  <a:gd name="T70" fmla="*/ 15 w 9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1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87" y="6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6" name="Freeform 375">
              <a:extLst>
                <a:ext uri="{FF2B5EF4-FFF2-40B4-BE49-F238E27FC236}">
                  <a16:creationId xmlns:a16="http://schemas.microsoft.com/office/drawing/2014/main" id="{896CB30A-0E14-1B0E-8E72-A14C6443B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4138" y="1592263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2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3 h 30"/>
                <a:gd name="T22" fmla="*/ 89 w 90"/>
                <a:gd name="T23" fmla="*/ 10 h 30"/>
                <a:gd name="T24" fmla="*/ 87 w 90"/>
                <a:gd name="T25" fmla="*/ 8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1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1 h 30"/>
                <a:gd name="T40" fmla="*/ 9 w 90"/>
                <a:gd name="T41" fmla="*/ 1 h 30"/>
                <a:gd name="T42" fmla="*/ 7 w 90"/>
                <a:gd name="T43" fmla="*/ 3 h 30"/>
                <a:gd name="T44" fmla="*/ 5 w 90"/>
                <a:gd name="T45" fmla="*/ 4 h 30"/>
                <a:gd name="T46" fmla="*/ 2 w 90"/>
                <a:gd name="T47" fmla="*/ 8 h 30"/>
                <a:gd name="T48" fmla="*/ 1 w 90"/>
                <a:gd name="T49" fmla="*/ 10 h 30"/>
                <a:gd name="T50" fmla="*/ 0 w 90"/>
                <a:gd name="T51" fmla="*/ 13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2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2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3"/>
                  </a:lnTo>
                  <a:lnTo>
                    <a:pt x="89" y="10"/>
                  </a:lnTo>
                  <a:lnTo>
                    <a:pt x="87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1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47" name="Freeform 376">
              <a:extLst>
                <a:ext uri="{FF2B5EF4-FFF2-40B4-BE49-F238E27FC236}">
                  <a16:creationId xmlns:a16="http://schemas.microsoft.com/office/drawing/2014/main" id="{6E7D3263-7776-BE13-AFE9-1F9ABC6EA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3951" y="1401763"/>
              <a:ext cx="287338" cy="228600"/>
            </a:xfrm>
            <a:custGeom>
              <a:avLst/>
              <a:gdLst>
                <a:gd name="T0" fmla="*/ 873 w 903"/>
                <a:gd name="T1" fmla="*/ 692 h 722"/>
                <a:gd name="T2" fmla="*/ 30 w 903"/>
                <a:gd name="T3" fmla="*/ 692 h 722"/>
                <a:gd name="T4" fmla="*/ 30 w 903"/>
                <a:gd name="T5" fmla="*/ 394 h 722"/>
                <a:gd name="T6" fmla="*/ 86 w 903"/>
                <a:gd name="T7" fmla="*/ 30 h 722"/>
                <a:gd name="T8" fmla="*/ 126 w 903"/>
                <a:gd name="T9" fmla="*/ 30 h 722"/>
                <a:gd name="T10" fmla="*/ 197 w 903"/>
                <a:gd name="T11" fmla="*/ 397 h 722"/>
                <a:gd name="T12" fmla="*/ 205 w 903"/>
                <a:gd name="T13" fmla="*/ 442 h 722"/>
                <a:gd name="T14" fmla="*/ 243 w 903"/>
                <a:gd name="T15" fmla="*/ 417 h 722"/>
                <a:gd name="T16" fmla="*/ 422 w 903"/>
                <a:gd name="T17" fmla="*/ 297 h 722"/>
                <a:gd name="T18" fmla="*/ 422 w 903"/>
                <a:gd name="T19" fmla="*/ 392 h 722"/>
                <a:gd name="T20" fmla="*/ 422 w 903"/>
                <a:gd name="T21" fmla="*/ 448 h 722"/>
                <a:gd name="T22" fmla="*/ 468 w 903"/>
                <a:gd name="T23" fmla="*/ 417 h 722"/>
                <a:gd name="T24" fmla="*/ 647 w 903"/>
                <a:gd name="T25" fmla="*/ 297 h 722"/>
                <a:gd name="T26" fmla="*/ 647 w 903"/>
                <a:gd name="T27" fmla="*/ 392 h 722"/>
                <a:gd name="T28" fmla="*/ 647 w 903"/>
                <a:gd name="T29" fmla="*/ 448 h 722"/>
                <a:gd name="T30" fmla="*/ 694 w 903"/>
                <a:gd name="T31" fmla="*/ 417 h 722"/>
                <a:gd name="T32" fmla="*/ 873 w 903"/>
                <a:gd name="T33" fmla="*/ 297 h 722"/>
                <a:gd name="T34" fmla="*/ 873 w 903"/>
                <a:gd name="T35" fmla="*/ 692 h 722"/>
                <a:gd name="T36" fmla="*/ 677 w 903"/>
                <a:gd name="T37" fmla="*/ 392 h 722"/>
                <a:gd name="T38" fmla="*/ 677 w 903"/>
                <a:gd name="T39" fmla="*/ 241 h 722"/>
                <a:gd name="T40" fmla="*/ 452 w 903"/>
                <a:gd name="T41" fmla="*/ 392 h 722"/>
                <a:gd name="T42" fmla="*/ 452 w 903"/>
                <a:gd name="T43" fmla="*/ 241 h 722"/>
                <a:gd name="T44" fmla="*/ 226 w 903"/>
                <a:gd name="T45" fmla="*/ 392 h 722"/>
                <a:gd name="T46" fmla="*/ 151 w 903"/>
                <a:gd name="T47" fmla="*/ 0 h 722"/>
                <a:gd name="T48" fmla="*/ 60 w 903"/>
                <a:gd name="T49" fmla="*/ 0 h 722"/>
                <a:gd name="T50" fmla="*/ 0 w 903"/>
                <a:gd name="T51" fmla="*/ 392 h 722"/>
                <a:gd name="T52" fmla="*/ 0 w 903"/>
                <a:gd name="T53" fmla="*/ 722 h 722"/>
                <a:gd name="T54" fmla="*/ 903 w 903"/>
                <a:gd name="T55" fmla="*/ 722 h 722"/>
                <a:gd name="T56" fmla="*/ 903 w 903"/>
                <a:gd name="T57" fmla="*/ 241 h 722"/>
                <a:gd name="T58" fmla="*/ 677 w 903"/>
                <a:gd name="T59" fmla="*/ 39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3" h="722">
                  <a:moveTo>
                    <a:pt x="873" y="692"/>
                  </a:moveTo>
                  <a:lnTo>
                    <a:pt x="30" y="692"/>
                  </a:lnTo>
                  <a:lnTo>
                    <a:pt x="30" y="394"/>
                  </a:lnTo>
                  <a:lnTo>
                    <a:pt x="86" y="30"/>
                  </a:lnTo>
                  <a:lnTo>
                    <a:pt x="126" y="30"/>
                  </a:lnTo>
                  <a:lnTo>
                    <a:pt x="197" y="397"/>
                  </a:lnTo>
                  <a:lnTo>
                    <a:pt x="205" y="442"/>
                  </a:lnTo>
                  <a:lnTo>
                    <a:pt x="243" y="417"/>
                  </a:lnTo>
                  <a:lnTo>
                    <a:pt x="422" y="297"/>
                  </a:lnTo>
                  <a:lnTo>
                    <a:pt x="422" y="392"/>
                  </a:lnTo>
                  <a:lnTo>
                    <a:pt x="422" y="448"/>
                  </a:lnTo>
                  <a:lnTo>
                    <a:pt x="468" y="417"/>
                  </a:lnTo>
                  <a:lnTo>
                    <a:pt x="647" y="297"/>
                  </a:lnTo>
                  <a:lnTo>
                    <a:pt x="647" y="392"/>
                  </a:lnTo>
                  <a:lnTo>
                    <a:pt x="647" y="448"/>
                  </a:lnTo>
                  <a:lnTo>
                    <a:pt x="694" y="417"/>
                  </a:lnTo>
                  <a:lnTo>
                    <a:pt x="873" y="297"/>
                  </a:lnTo>
                  <a:lnTo>
                    <a:pt x="873" y="692"/>
                  </a:lnTo>
                  <a:close/>
                  <a:moveTo>
                    <a:pt x="677" y="392"/>
                  </a:moveTo>
                  <a:lnTo>
                    <a:pt x="677" y="241"/>
                  </a:lnTo>
                  <a:lnTo>
                    <a:pt x="452" y="392"/>
                  </a:lnTo>
                  <a:lnTo>
                    <a:pt x="452" y="241"/>
                  </a:lnTo>
                  <a:lnTo>
                    <a:pt x="226" y="392"/>
                  </a:lnTo>
                  <a:lnTo>
                    <a:pt x="151" y="0"/>
                  </a:lnTo>
                  <a:lnTo>
                    <a:pt x="60" y="0"/>
                  </a:lnTo>
                  <a:lnTo>
                    <a:pt x="0" y="392"/>
                  </a:lnTo>
                  <a:lnTo>
                    <a:pt x="0" y="722"/>
                  </a:lnTo>
                  <a:lnTo>
                    <a:pt x="903" y="722"/>
                  </a:lnTo>
                  <a:lnTo>
                    <a:pt x="903" y="241"/>
                  </a:lnTo>
                  <a:lnTo>
                    <a:pt x="677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5AC4E34-6571-FD6E-0DA5-DA6536496CA9}"/>
              </a:ext>
            </a:extLst>
          </p:cNvPr>
          <p:cNvGrpSpPr/>
          <p:nvPr/>
        </p:nvGrpSpPr>
        <p:grpSpPr>
          <a:xfrm>
            <a:off x="3963636" y="3616048"/>
            <a:ext cx="287338" cy="239712"/>
            <a:chOff x="10464801" y="817563"/>
            <a:chExt cx="287338" cy="239712"/>
          </a:xfrm>
          <a:solidFill>
            <a:srgbClr val="3B3939"/>
          </a:solidFill>
        </p:grpSpPr>
        <p:sp>
          <p:nvSpPr>
            <p:cNvPr id="49" name="Freeform 334">
              <a:extLst>
                <a:ext uri="{FF2B5EF4-FFF2-40B4-BE49-F238E27FC236}">
                  <a16:creationId xmlns:a16="http://schemas.microsoft.com/office/drawing/2014/main" id="{C714D849-72CE-8D02-ECAC-B6EEFE33F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4801" y="817563"/>
              <a:ext cx="287338" cy="239712"/>
            </a:xfrm>
            <a:custGeom>
              <a:avLst/>
              <a:gdLst>
                <a:gd name="T0" fmla="*/ 723 w 904"/>
                <a:gd name="T1" fmla="*/ 602 h 753"/>
                <a:gd name="T2" fmla="*/ 512 w 904"/>
                <a:gd name="T3" fmla="*/ 602 h 753"/>
                <a:gd name="T4" fmla="*/ 512 w 904"/>
                <a:gd name="T5" fmla="*/ 722 h 753"/>
                <a:gd name="T6" fmla="*/ 181 w 904"/>
                <a:gd name="T7" fmla="*/ 542 h 753"/>
                <a:gd name="T8" fmla="*/ 181 w 904"/>
                <a:gd name="T9" fmla="*/ 722 h 753"/>
                <a:gd name="T10" fmla="*/ 391 w 904"/>
                <a:gd name="T11" fmla="*/ 722 h 753"/>
                <a:gd name="T12" fmla="*/ 331 w 904"/>
                <a:gd name="T13" fmla="*/ 524 h 753"/>
                <a:gd name="T14" fmla="*/ 327 w 904"/>
                <a:gd name="T15" fmla="*/ 516 h 753"/>
                <a:gd name="T16" fmla="*/ 319 w 904"/>
                <a:gd name="T17" fmla="*/ 512 h 753"/>
                <a:gd name="T18" fmla="*/ 163 w 904"/>
                <a:gd name="T19" fmla="*/ 512 h 753"/>
                <a:gd name="T20" fmla="*/ 155 w 904"/>
                <a:gd name="T21" fmla="*/ 516 h 753"/>
                <a:gd name="T22" fmla="*/ 151 w 904"/>
                <a:gd name="T23" fmla="*/ 524 h 753"/>
                <a:gd name="T24" fmla="*/ 91 w 904"/>
                <a:gd name="T25" fmla="*/ 722 h 753"/>
                <a:gd name="T26" fmla="*/ 813 w 904"/>
                <a:gd name="T27" fmla="*/ 722 h 753"/>
                <a:gd name="T28" fmla="*/ 753 w 904"/>
                <a:gd name="T29" fmla="*/ 584 h 753"/>
                <a:gd name="T30" fmla="*/ 748 w 904"/>
                <a:gd name="T31" fmla="*/ 577 h 753"/>
                <a:gd name="T32" fmla="*/ 741 w 904"/>
                <a:gd name="T33" fmla="*/ 572 h 753"/>
                <a:gd name="T34" fmla="*/ 494 w 904"/>
                <a:gd name="T35" fmla="*/ 572 h 753"/>
                <a:gd name="T36" fmla="*/ 487 w 904"/>
                <a:gd name="T37" fmla="*/ 577 h 753"/>
                <a:gd name="T38" fmla="*/ 482 w 904"/>
                <a:gd name="T39" fmla="*/ 584 h 753"/>
                <a:gd name="T40" fmla="*/ 421 w 904"/>
                <a:gd name="T41" fmla="*/ 722 h 753"/>
                <a:gd name="T42" fmla="*/ 723 w 904"/>
                <a:gd name="T43" fmla="*/ 121 h 753"/>
                <a:gd name="T44" fmla="*/ 723 w 904"/>
                <a:gd name="T45" fmla="*/ 241 h 753"/>
                <a:gd name="T46" fmla="*/ 843 w 904"/>
                <a:gd name="T47" fmla="*/ 722 h 753"/>
                <a:gd name="T48" fmla="*/ 885 w 904"/>
                <a:gd name="T49" fmla="*/ 376 h 753"/>
                <a:gd name="T50" fmla="*/ 895 w 904"/>
                <a:gd name="T51" fmla="*/ 375 h 753"/>
                <a:gd name="T52" fmla="*/ 903 w 904"/>
                <a:gd name="T53" fmla="*/ 366 h 753"/>
                <a:gd name="T54" fmla="*/ 903 w 904"/>
                <a:gd name="T55" fmla="*/ 358 h 753"/>
                <a:gd name="T56" fmla="*/ 898 w 904"/>
                <a:gd name="T57" fmla="*/ 350 h 753"/>
                <a:gd name="T58" fmla="*/ 813 w 904"/>
                <a:gd name="T59" fmla="*/ 106 h 753"/>
                <a:gd name="T60" fmla="*/ 811 w 904"/>
                <a:gd name="T61" fmla="*/ 97 h 753"/>
                <a:gd name="T62" fmla="*/ 804 w 904"/>
                <a:gd name="T63" fmla="*/ 92 h 753"/>
                <a:gd name="T64" fmla="*/ 708 w 904"/>
                <a:gd name="T65" fmla="*/ 91 h 753"/>
                <a:gd name="T66" fmla="*/ 699 w 904"/>
                <a:gd name="T67" fmla="*/ 93 h 753"/>
                <a:gd name="T68" fmla="*/ 694 w 904"/>
                <a:gd name="T69" fmla="*/ 99 h 753"/>
                <a:gd name="T70" fmla="*/ 693 w 904"/>
                <a:gd name="T71" fmla="*/ 221 h 753"/>
                <a:gd name="T72" fmla="*/ 333 w 904"/>
                <a:gd name="T73" fmla="*/ 0 h 753"/>
                <a:gd name="T74" fmla="*/ 325 w 904"/>
                <a:gd name="T75" fmla="*/ 1 h 753"/>
                <a:gd name="T76" fmla="*/ 318 w 904"/>
                <a:gd name="T77" fmla="*/ 7 h 753"/>
                <a:gd name="T78" fmla="*/ 316 w 904"/>
                <a:gd name="T79" fmla="*/ 15 h 753"/>
                <a:gd name="T80" fmla="*/ 319 w 904"/>
                <a:gd name="T81" fmla="*/ 24 h 753"/>
                <a:gd name="T82" fmla="*/ 391 w 904"/>
                <a:gd name="T83" fmla="*/ 70 h 753"/>
                <a:gd name="T84" fmla="*/ 69 w 904"/>
                <a:gd name="T85" fmla="*/ 394 h 753"/>
                <a:gd name="T86" fmla="*/ 6 w 904"/>
                <a:gd name="T87" fmla="*/ 424 h 753"/>
                <a:gd name="T88" fmla="*/ 1 w 904"/>
                <a:gd name="T89" fmla="*/ 432 h 753"/>
                <a:gd name="T90" fmla="*/ 1 w 904"/>
                <a:gd name="T91" fmla="*/ 440 h 753"/>
                <a:gd name="T92" fmla="*/ 7 w 904"/>
                <a:gd name="T93" fmla="*/ 450 h 753"/>
                <a:gd name="T94" fmla="*/ 19 w 904"/>
                <a:gd name="T95" fmla="*/ 451 h 753"/>
                <a:gd name="T96" fmla="*/ 61 w 904"/>
                <a:gd name="T97" fmla="*/ 722 h 753"/>
                <a:gd name="T98" fmla="*/ 9 w 904"/>
                <a:gd name="T99" fmla="*/ 724 h 753"/>
                <a:gd name="T100" fmla="*/ 3 w 904"/>
                <a:gd name="T101" fmla="*/ 730 h 753"/>
                <a:gd name="T102" fmla="*/ 0 w 904"/>
                <a:gd name="T103" fmla="*/ 738 h 753"/>
                <a:gd name="T104" fmla="*/ 3 w 904"/>
                <a:gd name="T105" fmla="*/ 746 h 753"/>
                <a:gd name="T106" fmla="*/ 9 w 904"/>
                <a:gd name="T107" fmla="*/ 751 h 753"/>
                <a:gd name="T108" fmla="*/ 166 w 904"/>
                <a:gd name="T109" fmla="*/ 753 h 753"/>
                <a:gd name="T110" fmla="*/ 738 w 904"/>
                <a:gd name="T111" fmla="*/ 753 h 753"/>
                <a:gd name="T112" fmla="*/ 894 w 904"/>
                <a:gd name="T113" fmla="*/ 751 h 753"/>
                <a:gd name="T114" fmla="*/ 901 w 904"/>
                <a:gd name="T115" fmla="*/ 746 h 753"/>
                <a:gd name="T116" fmla="*/ 904 w 904"/>
                <a:gd name="T117" fmla="*/ 738 h 753"/>
                <a:gd name="T118" fmla="*/ 901 w 904"/>
                <a:gd name="T119" fmla="*/ 730 h 753"/>
                <a:gd name="T120" fmla="*/ 894 w 904"/>
                <a:gd name="T121" fmla="*/ 724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753">
                  <a:moveTo>
                    <a:pt x="632" y="722"/>
                  </a:moveTo>
                  <a:lnTo>
                    <a:pt x="632" y="602"/>
                  </a:lnTo>
                  <a:lnTo>
                    <a:pt x="723" y="602"/>
                  </a:lnTo>
                  <a:lnTo>
                    <a:pt x="723" y="722"/>
                  </a:lnTo>
                  <a:lnTo>
                    <a:pt x="632" y="722"/>
                  </a:lnTo>
                  <a:close/>
                  <a:moveTo>
                    <a:pt x="512" y="602"/>
                  </a:moveTo>
                  <a:lnTo>
                    <a:pt x="602" y="602"/>
                  </a:lnTo>
                  <a:lnTo>
                    <a:pt x="602" y="722"/>
                  </a:lnTo>
                  <a:lnTo>
                    <a:pt x="512" y="722"/>
                  </a:lnTo>
                  <a:lnTo>
                    <a:pt x="512" y="602"/>
                  </a:lnTo>
                  <a:close/>
                  <a:moveTo>
                    <a:pt x="181" y="722"/>
                  </a:moveTo>
                  <a:lnTo>
                    <a:pt x="181" y="542"/>
                  </a:lnTo>
                  <a:lnTo>
                    <a:pt x="301" y="542"/>
                  </a:lnTo>
                  <a:lnTo>
                    <a:pt x="301" y="722"/>
                  </a:lnTo>
                  <a:lnTo>
                    <a:pt x="181" y="722"/>
                  </a:lnTo>
                  <a:close/>
                  <a:moveTo>
                    <a:pt x="91" y="417"/>
                  </a:moveTo>
                  <a:lnTo>
                    <a:pt x="391" y="273"/>
                  </a:lnTo>
                  <a:lnTo>
                    <a:pt x="391" y="722"/>
                  </a:lnTo>
                  <a:lnTo>
                    <a:pt x="331" y="722"/>
                  </a:lnTo>
                  <a:lnTo>
                    <a:pt x="331" y="527"/>
                  </a:lnTo>
                  <a:lnTo>
                    <a:pt x="331" y="524"/>
                  </a:lnTo>
                  <a:lnTo>
                    <a:pt x="330" y="521"/>
                  </a:lnTo>
                  <a:lnTo>
                    <a:pt x="329" y="519"/>
                  </a:lnTo>
                  <a:lnTo>
                    <a:pt x="327" y="516"/>
                  </a:lnTo>
                  <a:lnTo>
                    <a:pt x="325" y="514"/>
                  </a:lnTo>
                  <a:lnTo>
                    <a:pt x="323" y="513"/>
                  </a:lnTo>
                  <a:lnTo>
                    <a:pt x="319" y="512"/>
                  </a:lnTo>
                  <a:lnTo>
                    <a:pt x="316" y="512"/>
                  </a:lnTo>
                  <a:lnTo>
                    <a:pt x="166" y="512"/>
                  </a:lnTo>
                  <a:lnTo>
                    <a:pt x="163" y="512"/>
                  </a:lnTo>
                  <a:lnTo>
                    <a:pt x="160" y="513"/>
                  </a:lnTo>
                  <a:lnTo>
                    <a:pt x="157" y="514"/>
                  </a:lnTo>
                  <a:lnTo>
                    <a:pt x="155" y="516"/>
                  </a:lnTo>
                  <a:lnTo>
                    <a:pt x="153" y="519"/>
                  </a:lnTo>
                  <a:lnTo>
                    <a:pt x="152" y="521"/>
                  </a:lnTo>
                  <a:lnTo>
                    <a:pt x="151" y="524"/>
                  </a:lnTo>
                  <a:lnTo>
                    <a:pt x="151" y="527"/>
                  </a:lnTo>
                  <a:lnTo>
                    <a:pt x="151" y="722"/>
                  </a:lnTo>
                  <a:lnTo>
                    <a:pt x="91" y="722"/>
                  </a:lnTo>
                  <a:lnTo>
                    <a:pt x="91" y="417"/>
                  </a:lnTo>
                  <a:close/>
                  <a:moveTo>
                    <a:pt x="813" y="332"/>
                  </a:moveTo>
                  <a:lnTo>
                    <a:pt x="813" y="722"/>
                  </a:lnTo>
                  <a:lnTo>
                    <a:pt x="753" y="722"/>
                  </a:lnTo>
                  <a:lnTo>
                    <a:pt x="753" y="587"/>
                  </a:lnTo>
                  <a:lnTo>
                    <a:pt x="753" y="584"/>
                  </a:lnTo>
                  <a:lnTo>
                    <a:pt x="752" y="582"/>
                  </a:lnTo>
                  <a:lnTo>
                    <a:pt x="750" y="579"/>
                  </a:lnTo>
                  <a:lnTo>
                    <a:pt x="748" y="577"/>
                  </a:lnTo>
                  <a:lnTo>
                    <a:pt x="746" y="574"/>
                  </a:lnTo>
                  <a:lnTo>
                    <a:pt x="744" y="573"/>
                  </a:lnTo>
                  <a:lnTo>
                    <a:pt x="741" y="572"/>
                  </a:lnTo>
                  <a:lnTo>
                    <a:pt x="738" y="572"/>
                  </a:lnTo>
                  <a:lnTo>
                    <a:pt x="497" y="572"/>
                  </a:lnTo>
                  <a:lnTo>
                    <a:pt x="494" y="572"/>
                  </a:lnTo>
                  <a:lnTo>
                    <a:pt x="491" y="573"/>
                  </a:lnTo>
                  <a:lnTo>
                    <a:pt x="489" y="574"/>
                  </a:lnTo>
                  <a:lnTo>
                    <a:pt x="487" y="577"/>
                  </a:lnTo>
                  <a:lnTo>
                    <a:pt x="484" y="579"/>
                  </a:lnTo>
                  <a:lnTo>
                    <a:pt x="483" y="582"/>
                  </a:lnTo>
                  <a:lnTo>
                    <a:pt x="482" y="584"/>
                  </a:lnTo>
                  <a:lnTo>
                    <a:pt x="482" y="587"/>
                  </a:lnTo>
                  <a:lnTo>
                    <a:pt x="482" y="722"/>
                  </a:lnTo>
                  <a:lnTo>
                    <a:pt x="421" y="722"/>
                  </a:lnTo>
                  <a:lnTo>
                    <a:pt x="421" y="89"/>
                  </a:lnTo>
                  <a:lnTo>
                    <a:pt x="813" y="332"/>
                  </a:lnTo>
                  <a:close/>
                  <a:moveTo>
                    <a:pt x="723" y="121"/>
                  </a:moveTo>
                  <a:lnTo>
                    <a:pt x="783" y="121"/>
                  </a:lnTo>
                  <a:lnTo>
                    <a:pt x="783" y="278"/>
                  </a:lnTo>
                  <a:lnTo>
                    <a:pt x="723" y="241"/>
                  </a:lnTo>
                  <a:lnTo>
                    <a:pt x="723" y="121"/>
                  </a:lnTo>
                  <a:close/>
                  <a:moveTo>
                    <a:pt x="889" y="722"/>
                  </a:moveTo>
                  <a:lnTo>
                    <a:pt x="843" y="722"/>
                  </a:lnTo>
                  <a:lnTo>
                    <a:pt x="843" y="351"/>
                  </a:lnTo>
                  <a:lnTo>
                    <a:pt x="880" y="374"/>
                  </a:lnTo>
                  <a:lnTo>
                    <a:pt x="885" y="376"/>
                  </a:lnTo>
                  <a:lnTo>
                    <a:pt x="889" y="377"/>
                  </a:lnTo>
                  <a:lnTo>
                    <a:pt x="892" y="376"/>
                  </a:lnTo>
                  <a:lnTo>
                    <a:pt x="895" y="375"/>
                  </a:lnTo>
                  <a:lnTo>
                    <a:pt x="898" y="373"/>
                  </a:lnTo>
                  <a:lnTo>
                    <a:pt x="901" y="369"/>
                  </a:lnTo>
                  <a:lnTo>
                    <a:pt x="903" y="366"/>
                  </a:lnTo>
                  <a:lnTo>
                    <a:pt x="903" y="364"/>
                  </a:lnTo>
                  <a:lnTo>
                    <a:pt x="904" y="361"/>
                  </a:lnTo>
                  <a:lnTo>
                    <a:pt x="903" y="358"/>
                  </a:lnTo>
                  <a:lnTo>
                    <a:pt x="902" y="356"/>
                  </a:lnTo>
                  <a:lnTo>
                    <a:pt x="901" y="352"/>
                  </a:lnTo>
                  <a:lnTo>
                    <a:pt x="898" y="350"/>
                  </a:lnTo>
                  <a:lnTo>
                    <a:pt x="896" y="349"/>
                  </a:lnTo>
                  <a:lnTo>
                    <a:pt x="813" y="297"/>
                  </a:lnTo>
                  <a:lnTo>
                    <a:pt x="813" y="106"/>
                  </a:lnTo>
                  <a:lnTo>
                    <a:pt x="813" y="102"/>
                  </a:lnTo>
                  <a:lnTo>
                    <a:pt x="812" y="99"/>
                  </a:lnTo>
                  <a:lnTo>
                    <a:pt x="811" y="97"/>
                  </a:lnTo>
                  <a:lnTo>
                    <a:pt x="808" y="95"/>
                  </a:lnTo>
                  <a:lnTo>
                    <a:pt x="806" y="93"/>
                  </a:lnTo>
                  <a:lnTo>
                    <a:pt x="804" y="92"/>
                  </a:lnTo>
                  <a:lnTo>
                    <a:pt x="801" y="91"/>
                  </a:lnTo>
                  <a:lnTo>
                    <a:pt x="798" y="91"/>
                  </a:lnTo>
                  <a:lnTo>
                    <a:pt x="708" y="91"/>
                  </a:lnTo>
                  <a:lnTo>
                    <a:pt x="704" y="91"/>
                  </a:lnTo>
                  <a:lnTo>
                    <a:pt x="702" y="92"/>
                  </a:lnTo>
                  <a:lnTo>
                    <a:pt x="699" y="93"/>
                  </a:lnTo>
                  <a:lnTo>
                    <a:pt x="697" y="95"/>
                  </a:lnTo>
                  <a:lnTo>
                    <a:pt x="695" y="97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3" y="106"/>
                  </a:lnTo>
                  <a:lnTo>
                    <a:pt x="693" y="221"/>
                  </a:lnTo>
                  <a:lnTo>
                    <a:pt x="340" y="3"/>
                  </a:lnTo>
                  <a:lnTo>
                    <a:pt x="336" y="0"/>
                  </a:lnTo>
                  <a:lnTo>
                    <a:pt x="333" y="0"/>
                  </a:lnTo>
                  <a:lnTo>
                    <a:pt x="331" y="0"/>
                  </a:lnTo>
                  <a:lnTo>
                    <a:pt x="328" y="0"/>
                  </a:lnTo>
                  <a:lnTo>
                    <a:pt x="325" y="1"/>
                  </a:lnTo>
                  <a:lnTo>
                    <a:pt x="323" y="3"/>
                  </a:lnTo>
                  <a:lnTo>
                    <a:pt x="320" y="5"/>
                  </a:lnTo>
                  <a:lnTo>
                    <a:pt x="318" y="7"/>
                  </a:lnTo>
                  <a:lnTo>
                    <a:pt x="317" y="10"/>
                  </a:lnTo>
                  <a:lnTo>
                    <a:pt x="316" y="12"/>
                  </a:lnTo>
                  <a:lnTo>
                    <a:pt x="316" y="15"/>
                  </a:lnTo>
                  <a:lnTo>
                    <a:pt x="317" y="19"/>
                  </a:lnTo>
                  <a:lnTo>
                    <a:pt x="317" y="21"/>
                  </a:lnTo>
                  <a:lnTo>
                    <a:pt x="319" y="24"/>
                  </a:lnTo>
                  <a:lnTo>
                    <a:pt x="321" y="26"/>
                  </a:lnTo>
                  <a:lnTo>
                    <a:pt x="324" y="28"/>
                  </a:lnTo>
                  <a:lnTo>
                    <a:pt x="391" y="70"/>
                  </a:lnTo>
                  <a:lnTo>
                    <a:pt x="391" y="239"/>
                  </a:lnTo>
                  <a:lnTo>
                    <a:pt x="72" y="393"/>
                  </a:lnTo>
                  <a:lnTo>
                    <a:pt x="69" y="394"/>
                  </a:lnTo>
                  <a:lnTo>
                    <a:pt x="67" y="395"/>
                  </a:lnTo>
                  <a:lnTo>
                    <a:pt x="8" y="423"/>
                  </a:lnTo>
                  <a:lnTo>
                    <a:pt x="6" y="424"/>
                  </a:lnTo>
                  <a:lnTo>
                    <a:pt x="4" y="426"/>
                  </a:lnTo>
                  <a:lnTo>
                    <a:pt x="2" y="429"/>
                  </a:lnTo>
                  <a:lnTo>
                    <a:pt x="1" y="432"/>
                  </a:lnTo>
                  <a:lnTo>
                    <a:pt x="1" y="435"/>
                  </a:lnTo>
                  <a:lnTo>
                    <a:pt x="1" y="437"/>
                  </a:lnTo>
                  <a:lnTo>
                    <a:pt x="1" y="440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7" y="450"/>
                  </a:lnTo>
                  <a:lnTo>
                    <a:pt x="12" y="451"/>
                  </a:lnTo>
                  <a:lnTo>
                    <a:pt x="16" y="452"/>
                  </a:lnTo>
                  <a:lnTo>
                    <a:pt x="19" y="451"/>
                  </a:lnTo>
                  <a:lnTo>
                    <a:pt x="22" y="450"/>
                  </a:lnTo>
                  <a:lnTo>
                    <a:pt x="61" y="432"/>
                  </a:lnTo>
                  <a:lnTo>
                    <a:pt x="61" y="722"/>
                  </a:lnTo>
                  <a:lnTo>
                    <a:pt x="16" y="722"/>
                  </a:lnTo>
                  <a:lnTo>
                    <a:pt x="13" y="724"/>
                  </a:lnTo>
                  <a:lnTo>
                    <a:pt x="9" y="724"/>
                  </a:lnTo>
                  <a:lnTo>
                    <a:pt x="7" y="726"/>
                  </a:lnTo>
                  <a:lnTo>
                    <a:pt x="5" y="727"/>
                  </a:lnTo>
                  <a:lnTo>
                    <a:pt x="3" y="730"/>
                  </a:lnTo>
                  <a:lnTo>
                    <a:pt x="2" y="732"/>
                  </a:lnTo>
                  <a:lnTo>
                    <a:pt x="1" y="735"/>
                  </a:lnTo>
                  <a:lnTo>
                    <a:pt x="0" y="738"/>
                  </a:lnTo>
                  <a:lnTo>
                    <a:pt x="1" y="741"/>
                  </a:lnTo>
                  <a:lnTo>
                    <a:pt x="2" y="744"/>
                  </a:lnTo>
                  <a:lnTo>
                    <a:pt x="3" y="746"/>
                  </a:lnTo>
                  <a:lnTo>
                    <a:pt x="5" y="748"/>
                  </a:lnTo>
                  <a:lnTo>
                    <a:pt x="7" y="750"/>
                  </a:lnTo>
                  <a:lnTo>
                    <a:pt x="9" y="751"/>
                  </a:lnTo>
                  <a:lnTo>
                    <a:pt x="13" y="753"/>
                  </a:lnTo>
                  <a:lnTo>
                    <a:pt x="16" y="753"/>
                  </a:lnTo>
                  <a:lnTo>
                    <a:pt x="166" y="753"/>
                  </a:lnTo>
                  <a:lnTo>
                    <a:pt x="316" y="753"/>
                  </a:lnTo>
                  <a:lnTo>
                    <a:pt x="497" y="753"/>
                  </a:lnTo>
                  <a:lnTo>
                    <a:pt x="738" y="753"/>
                  </a:lnTo>
                  <a:lnTo>
                    <a:pt x="889" y="753"/>
                  </a:lnTo>
                  <a:lnTo>
                    <a:pt x="891" y="753"/>
                  </a:lnTo>
                  <a:lnTo>
                    <a:pt x="894" y="751"/>
                  </a:lnTo>
                  <a:lnTo>
                    <a:pt x="896" y="750"/>
                  </a:lnTo>
                  <a:lnTo>
                    <a:pt x="898" y="748"/>
                  </a:lnTo>
                  <a:lnTo>
                    <a:pt x="901" y="746"/>
                  </a:lnTo>
                  <a:lnTo>
                    <a:pt x="902" y="744"/>
                  </a:lnTo>
                  <a:lnTo>
                    <a:pt x="903" y="741"/>
                  </a:lnTo>
                  <a:lnTo>
                    <a:pt x="904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1" y="730"/>
                  </a:lnTo>
                  <a:lnTo>
                    <a:pt x="898" y="727"/>
                  </a:lnTo>
                  <a:lnTo>
                    <a:pt x="896" y="726"/>
                  </a:lnTo>
                  <a:lnTo>
                    <a:pt x="894" y="724"/>
                  </a:lnTo>
                  <a:lnTo>
                    <a:pt x="891" y="724"/>
                  </a:lnTo>
                  <a:lnTo>
                    <a:pt x="889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0" name="Freeform 335">
              <a:extLst>
                <a:ext uri="{FF2B5EF4-FFF2-40B4-BE49-F238E27FC236}">
                  <a16:creationId xmlns:a16="http://schemas.microsoft.com/office/drawing/2014/main" id="{88AD83E9-A14E-A3DD-67B9-884B5CFF5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2426" y="962025"/>
              <a:ext cx="57150" cy="9525"/>
            </a:xfrm>
            <a:custGeom>
              <a:avLst/>
              <a:gdLst>
                <a:gd name="T0" fmla="*/ 15 w 180"/>
                <a:gd name="T1" fmla="*/ 30 h 30"/>
                <a:gd name="T2" fmla="*/ 165 w 180"/>
                <a:gd name="T3" fmla="*/ 30 h 30"/>
                <a:gd name="T4" fmla="*/ 168 w 180"/>
                <a:gd name="T5" fmla="*/ 29 h 30"/>
                <a:gd name="T6" fmla="*/ 172 w 180"/>
                <a:gd name="T7" fmla="*/ 29 h 30"/>
                <a:gd name="T8" fmla="*/ 174 w 180"/>
                <a:gd name="T9" fmla="*/ 27 h 30"/>
                <a:gd name="T10" fmla="*/ 176 w 180"/>
                <a:gd name="T11" fmla="*/ 26 h 30"/>
                <a:gd name="T12" fmla="*/ 178 w 180"/>
                <a:gd name="T13" fmla="*/ 24 h 30"/>
                <a:gd name="T14" fmla="*/ 179 w 180"/>
                <a:gd name="T15" fmla="*/ 20 h 30"/>
                <a:gd name="T16" fmla="*/ 180 w 180"/>
                <a:gd name="T17" fmla="*/ 18 h 30"/>
                <a:gd name="T18" fmla="*/ 180 w 180"/>
                <a:gd name="T19" fmla="*/ 15 h 30"/>
                <a:gd name="T20" fmla="*/ 180 w 180"/>
                <a:gd name="T21" fmla="*/ 12 h 30"/>
                <a:gd name="T22" fmla="*/ 179 w 180"/>
                <a:gd name="T23" fmla="*/ 9 h 30"/>
                <a:gd name="T24" fmla="*/ 178 w 180"/>
                <a:gd name="T25" fmla="*/ 7 h 30"/>
                <a:gd name="T26" fmla="*/ 176 w 180"/>
                <a:gd name="T27" fmla="*/ 4 h 30"/>
                <a:gd name="T28" fmla="*/ 174 w 180"/>
                <a:gd name="T29" fmla="*/ 2 h 30"/>
                <a:gd name="T30" fmla="*/ 172 w 180"/>
                <a:gd name="T31" fmla="*/ 1 h 30"/>
                <a:gd name="T32" fmla="*/ 168 w 180"/>
                <a:gd name="T33" fmla="*/ 0 h 30"/>
                <a:gd name="T34" fmla="*/ 165 w 180"/>
                <a:gd name="T35" fmla="*/ 0 h 30"/>
                <a:gd name="T36" fmla="*/ 15 w 180"/>
                <a:gd name="T37" fmla="*/ 0 h 30"/>
                <a:gd name="T38" fmla="*/ 12 w 180"/>
                <a:gd name="T39" fmla="*/ 0 h 30"/>
                <a:gd name="T40" fmla="*/ 9 w 180"/>
                <a:gd name="T41" fmla="*/ 1 h 30"/>
                <a:gd name="T42" fmla="*/ 6 w 180"/>
                <a:gd name="T43" fmla="*/ 2 h 30"/>
                <a:gd name="T44" fmla="*/ 4 w 180"/>
                <a:gd name="T45" fmla="*/ 4 h 30"/>
                <a:gd name="T46" fmla="*/ 2 w 180"/>
                <a:gd name="T47" fmla="*/ 7 h 30"/>
                <a:gd name="T48" fmla="*/ 1 w 180"/>
                <a:gd name="T49" fmla="*/ 9 h 30"/>
                <a:gd name="T50" fmla="*/ 0 w 180"/>
                <a:gd name="T51" fmla="*/ 12 h 30"/>
                <a:gd name="T52" fmla="*/ 0 w 180"/>
                <a:gd name="T53" fmla="*/ 15 h 30"/>
                <a:gd name="T54" fmla="*/ 0 w 180"/>
                <a:gd name="T55" fmla="*/ 18 h 30"/>
                <a:gd name="T56" fmla="*/ 1 w 180"/>
                <a:gd name="T57" fmla="*/ 20 h 30"/>
                <a:gd name="T58" fmla="*/ 2 w 180"/>
                <a:gd name="T59" fmla="*/ 24 h 30"/>
                <a:gd name="T60" fmla="*/ 4 w 180"/>
                <a:gd name="T61" fmla="*/ 26 h 30"/>
                <a:gd name="T62" fmla="*/ 6 w 180"/>
                <a:gd name="T63" fmla="*/ 27 h 30"/>
                <a:gd name="T64" fmla="*/ 9 w 180"/>
                <a:gd name="T65" fmla="*/ 29 h 30"/>
                <a:gd name="T66" fmla="*/ 12 w 180"/>
                <a:gd name="T67" fmla="*/ 29 h 30"/>
                <a:gd name="T68" fmla="*/ 15 w 180"/>
                <a:gd name="T69" fmla="*/ 30 h 30"/>
                <a:gd name="T70" fmla="*/ 15 w 18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5" y="30"/>
                  </a:moveTo>
                  <a:lnTo>
                    <a:pt x="165" y="30"/>
                  </a:lnTo>
                  <a:lnTo>
                    <a:pt x="168" y="29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1" name="Freeform 336">
              <a:extLst>
                <a:ext uri="{FF2B5EF4-FFF2-40B4-BE49-F238E27FC236}">
                  <a16:creationId xmlns:a16="http://schemas.microsoft.com/office/drawing/2014/main" id="{97C88633-1170-3EC1-92A8-CF0DA1C743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7676" y="893763"/>
              <a:ext cx="47625" cy="49212"/>
            </a:xfrm>
            <a:custGeom>
              <a:avLst/>
              <a:gdLst>
                <a:gd name="T0" fmla="*/ 84 w 150"/>
                <a:gd name="T1" fmla="*/ 31 h 151"/>
                <a:gd name="T2" fmla="*/ 100 w 150"/>
                <a:gd name="T3" fmla="*/ 37 h 151"/>
                <a:gd name="T4" fmla="*/ 113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3 w 150"/>
                <a:gd name="T11" fmla="*/ 101 h 151"/>
                <a:gd name="T12" fmla="*/ 100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8 w 150"/>
                <a:gd name="T21" fmla="*/ 101 h 151"/>
                <a:gd name="T22" fmla="*/ 30 w 150"/>
                <a:gd name="T23" fmla="*/ 84 h 151"/>
                <a:gd name="T24" fmla="*/ 30 w 150"/>
                <a:gd name="T25" fmla="*/ 66 h 151"/>
                <a:gd name="T26" fmla="*/ 38 w 150"/>
                <a:gd name="T27" fmla="*/ 50 h 151"/>
                <a:gd name="T28" fmla="*/ 50 w 150"/>
                <a:gd name="T29" fmla="*/ 37 h 151"/>
                <a:gd name="T30" fmla="*/ 66 w 150"/>
                <a:gd name="T31" fmla="*/ 31 h 151"/>
                <a:gd name="T32" fmla="*/ 75 w 150"/>
                <a:gd name="T33" fmla="*/ 150 h 151"/>
                <a:gd name="T34" fmla="*/ 90 w 150"/>
                <a:gd name="T35" fmla="*/ 149 h 151"/>
                <a:gd name="T36" fmla="*/ 104 w 150"/>
                <a:gd name="T37" fmla="*/ 145 h 151"/>
                <a:gd name="T38" fmla="*/ 117 w 150"/>
                <a:gd name="T39" fmla="*/ 137 h 151"/>
                <a:gd name="T40" fmla="*/ 128 w 150"/>
                <a:gd name="T41" fmla="*/ 128 h 151"/>
                <a:gd name="T42" fmla="*/ 138 w 150"/>
                <a:gd name="T43" fmla="*/ 118 h 151"/>
                <a:gd name="T44" fmla="*/ 144 w 150"/>
                <a:gd name="T45" fmla="*/ 105 h 151"/>
                <a:gd name="T46" fmla="*/ 148 w 150"/>
                <a:gd name="T47" fmla="*/ 90 h 151"/>
                <a:gd name="T48" fmla="*/ 150 w 150"/>
                <a:gd name="T49" fmla="*/ 75 h 151"/>
                <a:gd name="T50" fmla="*/ 148 w 150"/>
                <a:gd name="T51" fmla="*/ 60 h 151"/>
                <a:gd name="T52" fmla="*/ 144 w 150"/>
                <a:gd name="T53" fmla="*/ 46 h 151"/>
                <a:gd name="T54" fmla="*/ 138 w 150"/>
                <a:gd name="T55" fmla="*/ 33 h 151"/>
                <a:gd name="T56" fmla="*/ 128 w 150"/>
                <a:gd name="T57" fmla="*/ 22 h 151"/>
                <a:gd name="T58" fmla="*/ 117 w 150"/>
                <a:gd name="T59" fmla="*/ 13 h 151"/>
                <a:gd name="T60" fmla="*/ 104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5 w 150"/>
                <a:gd name="T69" fmla="*/ 6 h 151"/>
                <a:gd name="T70" fmla="*/ 32 w 150"/>
                <a:gd name="T71" fmla="*/ 13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1 w 150"/>
                <a:gd name="T79" fmla="*/ 60 h 151"/>
                <a:gd name="T80" fmla="*/ 0 w 150"/>
                <a:gd name="T81" fmla="*/ 75 h 151"/>
                <a:gd name="T82" fmla="*/ 1 w 150"/>
                <a:gd name="T83" fmla="*/ 90 h 151"/>
                <a:gd name="T84" fmla="*/ 6 w 150"/>
                <a:gd name="T85" fmla="*/ 105 h 151"/>
                <a:gd name="T86" fmla="*/ 13 w 150"/>
                <a:gd name="T87" fmla="*/ 117 h 151"/>
                <a:gd name="T88" fmla="*/ 22 w 150"/>
                <a:gd name="T89" fmla="*/ 128 h 151"/>
                <a:gd name="T90" fmla="*/ 32 w 150"/>
                <a:gd name="T91" fmla="*/ 137 h 151"/>
                <a:gd name="T92" fmla="*/ 45 w 150"/>
                <a:gd name="T93" fmla="*/ 145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0" y="37"/>
                  </a:lnTo>
                  <a:lnTo>
                    <a:pt x="106" y="44"/>
                  </a:lnTo>
                  <a:lnTo>
                    <a:pt x="113" y="50"/>
                  </a:lnTo>
                  <a:lnTo>
                    <a:pt x="116" y="58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6" y="93"/>
                  </a:lnTo>
                  <a:lnTo>
                    <a:pt x="113" y="101"/>
                  </a:lnTo>
                  <a:lnTo>
                    <a:pt x="106" y="107"/>
                  </a:lnTo>
                  <a:lnTo>
                    <a:pt x="100" y="112"/>
                  </a:lnTo>
                  <a:lnTo>
                    <a:pt x="93" y="117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6" y="120"/>
                  </a:lnTo>
                  <a:lnTo>
                    <a:pt x="57" y="117"/>
                  </a:lnTo>
                  <a:lnTo>
                    <a:pt x="50" y="112"/>
                  </a:lnTo>
                  <a:lnTo>
                    <a:pt x="43" y="107"/>
                  </a:lnTo>
                  <a:lnTo>
                    <a:pt x="38" y="101"/>
                  </a:lnTo>
                  <a:lnTo>
                    <a:pt x="34" y="93"/>
                  </a:lnTo>
                  <a:lnTo>
                    <a:pt x="30" y="84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3" y="44"/>
                  </a:lnTo>
                  <a:lnTo>
                    <a:pt x="50" y="37"/>
                  </a:lnTo>
                  <a:lnTo>
                    <a:pt x="57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0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8" y="147"/>
                  </a:lnTo>
                  <a:lnTo>
                    <a:pt x="104" y="145"/>
                  </a:lnTo>
                  <a:lnTo>
                    <a:pt x="111" y="141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8" y="60"/>
                  </a:lnTo>
                  <a:lnTo>
                    <a:pt x="147" y="52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8" y="33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8" y="3"/>
                  </a:lnTo>
                  <a:lnTo>
                    <a:pt x="90" y="2"/>
                  </a:lnTo>
                  <a:lnTo>
                    <a:pt x="83" y="1"/>
                  </a:lnTo>
                  <a:lnTo>
                    <a:pt x="75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2" y="137"/>
                  </a:lnTo>
                  <a:lnTo>
                    <a:pt x="39" y="141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4417C89-173D-FA70-C377-25EEE0A30BD6}"/>
              </a:ext>
            </a:extLst>
          </p:cNvPr>
          <p:cNvGrpSpPr/>
          <p:nvPr/>
        </p:nvGrpSpPr>
        <p:grpSpPr>
          <a:xfrm>
            <a:off x="4671810" y="2691739"/>
            <a:ext cx="287338" cy="239712"/>
            <a:chOff x="11037888" y="817563"/>
            <a:chExt cx="287338" cy="239712"/>
          </a:xfrm>
          <a:solidFill>
            <a:srgbClr val="E2583D"/>
          </a:solidFill>
        </p:grpSpPr>
        <p:sp>
          <p:nvSpPr>
            <p:cNvPr id="53" name="Freeform 294">
              <a:extLst>
                <a:ext uri="{FF2B5EF4-FFF2-40B4-BE49-F238E27FC236}">
                  <a16:creationId xmlns:a16="http://schemas.microsoft.com/office/drawing/2014/main" id="{DA5BE916-81A3-6FF7-886C-8A1340BE7D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4" name="Freeform 295">
              <a:extLst>
                <a:ext uri="{FF2B5EF4-FFF2-40B4-BE49-F238E27FC236}">
                  <a16:creationId xmlns:a16="http://schemas.microsoft.com/office/drawing/2014/main" id="{C58B1E2F-487A-F928-C3DF-7E19855E7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5" name="Freeform 296">
              <a:extLst>
                <a:ext uri="{FF2B5EF4-FFF2-40B4-BE49-F238E27FC236}">
                  <a16:creationId xmlns:a16="http://schemas.microsoft.com/office/drawing/2014/main" id="{8E5C95E8-C061-2031-96D3-1D1C366A9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6" name="Freeform 297">
              <a:extLst>
                <a:ext uri="{FF2B5EF4-FFF2-40B4-BE49-F238E27FC236}">
                  <a16:creationId xmlns:a16="http://schemas.microsoft.com/office/drawing/2014/main" id="{2D2BD2F1-10CD-0CF5-1893-2F984D837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0144A41-4011-1847-2D79-F60E18361929}"/>
              </a:ext>
            </a:extLst>
          </p:cNvPr>
          <p:cNvGrpSpPr/>
          <p:nvPr/>
        </p:nvGrpSpPr>
        <p:grpSpPr>
          <a:xfrm>
            <a:off x="5773911" y="2319205"/>
            <a:ext cx="287338" cy="287337"/>
            <a:chOff x="7023101" y="1917700"/>
            <a:chExt cx="287338" cy="287337"/>
          </a:xfrm>
          <a:solidFill>
            <a:srgbClr val="78D2D2"/>
          </a:solidFill>
        </p:grpSpPr>
        <p:sp>
          <p:nvSpPr>
            <p:cNvPr id="58" name="Freeform 274">
              <a:extLst>
                <a:ext uri="{FF2B5EF4-FFF2-40B4-BE49-F238E27FC236}">
                  <a16:creationId xmlns:a16="http://schemas.microsoft.com/office/drawing/2014/main" id="{A1BB433B-F690-0276-4CAA-43107C554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3101" y="1917700"/>
              <a:ext cx="287338" cy="287337"/>
            </a:xfrm>
            <a:custGeom>
              <a:avLst/>
              <a:gdLst>
                <a:gd name="T0" fmla="*/ 813 w 903"/>
                <a:gd name="T1" fmla="*/ 795 h 903"/>
                <a:gd name="T2" fmla="*/ 807 w 903"/>
                <a:gd name="T3" fmla="*/ 785 h 903"/>
                <a:gd name="T4" fmla="*/ 738 w 903"/>
                <a:gd name="T5" fmla="*/ 782 h 903"/>
                <a:gd name="T6" fmla="*/ 727 w 903"/>
                <a:gd name="T7" fmla="*/ 787 h 903"/>
                <a:gd name="T8" fmla="*/ 723 w 903"/>
                <a:gd name="T9" fmla="*/ 798 h 903"/>
                <a:gd name="T10" fmla="*/ 678 w 903"/>
                <a:gd name="T11" fmla="*/ 391 h 903"/>
                <a:gd name="T12" fmla="*/ 753 w 903"/>
                <a:gd name="T13" fmla="*/ 873 h 903"/>
                <a:gd name="T14" fmla="*/ 753 w 903"/>
                <a:gd name="T15" fmla="*/ 873 h 903"/>
                <a:gd name="T16" fmla="*/ 181 w 903"/>
                <a:gd name="T17" fmla="*/ 873 h 903"/>
                <a:gd name="T18" fmla="*/ 286 w 903"/>
                <a:gd name="T19" fmla="*/ 300 h 903"/>
                <a:gd name="T20" fmla="*/ 211 w 903"/>
                <a:gd name="T21" fmla="*/ 797 h 903"/>
                <a:gd name="T22" fmla="*/ 207 w 903"/>
                <a:gd name="T23" fmla="*/ 787 h 903"/>
                <a:gd name="T24" fmla="*/ 196 w 903"/>
                <a:gd name="T25" fmla="*/ 783 h 903"/>
                <a:gd name="T26" fmla="*/ 128 w 903"/>
                <a:gd name="T27" fmla="*/ 785 h 903"/>
                <a:gd name="T28" fmla="*/ 121 w 903"/>
                <a:gd name="T29" fmla="*/ 795 h 903"/>
                <a:gd name="T30" fmla="*/ 30 w 903"/>
                <a:gd name="T31" fmla="*/ 300 h 903"/>
                <a:gd name="T32" fmla="*/ 90 w 903"/>
                <a:gd name="T33" fmla="*/ 270 h 903"/>
                <a:gd name="T34" fmla="*/ 362 w 903"/>
                <a:gd name="T35" fmla="*/ 873 h 903"/>
                <a:gd name="T36" fmla="*/ 813 w 903"/>
                <a:gd name="T37" fmla="*/ 300 h 903"/>
                <a:gd name="T38" fmla="*/ 888 w 903"/>
                <a:gd name="T39" fmla="*/ 361 h 903"/>
                <a:gd name="T40" fmla="*/ 842 w 903"/>
                <a:gd name="T41" fmla="*/ 280 h 903"/>
                <a:gd name="T42" fmla="*/ 834 w 903"/>
                <a:gd name="T43" fmla="*/ 271 h 903"/>
                <a:gd name="T44" fmla="*/ 675 w 903"/>
                <a:gd name="T45" fmla="*/ 271 h 903"/>
                <a:gd name="T46" fmla="*/ 665 w 903"/>
                <a:gd name="T47" fmla="*/ 278 h 903"/>
                <a:gd name="T48" fmla="*/ 663 w 903"/>
                <a:gd name="T49" fmla="*/ 361 h 903"/>
                <a:gd name="T50" fmla="*/ 609 w 903"/>
                <a:gd name="T51" fmla="*/ 364 h 903"/>
                <a:gd name="T52" fmla="*/ 603 w 903"/>
                <a:gd name="T53" fmla="*/ 373 h 903"/>
                <a:gd name="T54" fmla="*/ 362 w 903"/>
                <a:gd name="T55" fmla="*/ 285 h 903"/>
                <a:gd name="T56" fmla="*/ 357 w 903"/>
                <a:gd name="T57" fmla="*/ 274 h 903"/>
                <a:gd name="T58" fmla="*/ 347 w 903"/>
                <a:gd name="T59" fmla="*/ 270 h 903"/>
                <a:gd name="T60" fmla="*/ 300 w 903"/>
                <a:gd name="T61" fmla="*/ 160 h 903"/>
                <a:gd name="T62" fmla="*/ 292 w 903"/>
                <a:gd name="T63" fmla="*/ 151 h 903"/>
                <a:gd name="T64" fmla="*/ 181 w 903"/>
                <a:gd name="T65" fmla="*/ 15 h 903"/>
                <a:gd name="T66" fmla="*/ 177 w 903"/>
                <a:gd name="T67" fmla="*/ 4 h 903"/>
                <a:gd name="T68" fmla="*/ 166 w 903"/>
                <a:gd name="T69" fmla="*/ 0 h 903"/>
                <a:gd name="T70" fmla="*/ 156 w 903"/>
                <a:gd name="T71" fmla="*/ 4 h 903"/>
                <a:gd name="T72" fmla="*/ 151 w 903"/>
                <a:gd name="T73" fmla="*/ 15 h 903"/>
                <a:gd name="T74" fmla="*/ 70 w 903"/>
                <a:gd name="T75" fmla="*/ 151 h 903"/>
                <a:gd name="T76" fmla="*/ 61 w 903"/>
                <a:gd name="T77" fmla="*/ 160 h 903"/>
                <a:gd name="T78" fmla="*/ 15 w 903"/>
                <a:gd name="T79" fmla="*/ 270 h 903"/>
                <a:gd name="T80" fmla="*/ 4 w 903"/>
                <a:gd name="T81" fmla="*/ 274 h 903"/>
                <a:gd name="T82" fmla="*/ 0 w 903"/>
                <a:gd name="T83" fmla="*/ 285 h 903"/>
                <a:gd name="T84" fmla="*/ 3 w 903"/>
                <a:gd name="T85" fmla="*/ 897 h 903"/>
                <a:gd name="T86" fmla="*/ 12 w 903"/>
                <a:gd name="T87" fmla="*/ 903 h 903"/>
                <a:gd name="T88" fmla="*/ 347 w 903"/>
                <a:gd name="T89" fmla="*/ 903 h 903"/>
                <a:gd name="T90" fmla="*/ 888 w 903"/>
                <a:gd name="T91" fmla="*/ 903 h 903"/>
                <a:gd name="T92" fmla="*/ 899 w 903"/>
                <a:gd name="T93" fmla="*/ 899 h 903"/>
                <a:gd name="T94" fmla="*/ 903 w 903"/>
                <a:gd name="T95" fmla="*/ 888 h 903"/>
                <a:gd name="T96" fmla="*/ 901 w 903"/>
                <a:gd name="T97" fmla="*/ 368 h 903"/>
                <a:gd name="T98" fmla="*/ 891 w 903"/>
                <a:gd name="T99" fmla="*/ 361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3" h="903">
                  <a:moveTo>
                    <a:pt x="873" y="873"/>
                  </a:moveTo>
                  <a:lnTo>
                    <a:pt x="813" y="873"/>
                  </a:lnTo>
                  <a:lnTo>
                    <a:pt x="813" y="797"/>
                  </a:lnTo>
                  <a:lnTo>
                    <a:pt x="813" y="795"/>
                  </a:lnTo>
                  <a:lnTo>
                    <a:pt x="812" y="792"/>
                  </a:lnTo>
                  <a:lnTo>
                    <a:pt x="811" y="789"/>
                  </a:lnTo>
                  <a:lnTo>
                    <a:pt x="809" y="787"/>
                  </a:lnTo>
                  <a:lnTo>
                    <a:pt x="807" y="785"/>
                  </a:lnTo>
                  <a:lnTo>
                    <a:pt x="804" y="784"/>
                  </a:lnTo>
                  <a:lnTo>
                    <a:pt x="801" y="783"/>
                  </a:lnTo>
                  <a:lnTo>
                    <a:pt x="798" y="783"/>
                  </a:lnTo>
                  <a:lnTo>
                    <a:pt x="738" y="782"/>
                  </a:lnTo>
                  <a:lnTo>
                    <a:pt x="735" y="783"/>
                  </a:lnTo>
                  <a:lnTo>
                    <a:pt x="733" y="784"/>
                  </a:lnTo>
                  <a:lnTo>
                    <a:pt x="729" y="785"/>
                  </a:lnTo>
                  <a:lnTo>
                    <a:pt x="727" y="787"/>
                  </a:lnTo>
                  <a:lnTo>
                    <a:pt x="725" y="789"/>
                  </a:lnTo>
                  <a:lnTo>
                    <a:pt x="724" y="792"/>
                  </a:lnTo>
                  <a:lnTo>
                    <a:pt x="723" y="795"/>
                  </a:lnTo>
                  <a:lnTo>
                    <a:pt x="723" y="798"/>
                  </a:lnTo>
                  <a:lnTo>
                    <a:pt x="723" y="873"/>
                  </a:lnTo>
                  <a:lnTo>
                    <a:pt x="633" y="873"/>
                  </a:lnTo>
                  <a:lnTo>
                    <a:pt x="633" y="391"/>
                  </a:lnTo>
                  <a:lnTo>
                    <a:pt x="678" y="391"/>
                  </a:lnTo>
                  <a:lnTo>
                    <a:pt x="828" y="391"/>
                  </a:lnTo>
                  <a:lnTo>
                    <a:pt x="873" y="391"/>
                  </a:lnTo>
                  <a:lnTo>
                    <a:pt x="873" y="873"/>
                  </a:lnTo>
                  <a:close/>
                  <a:moveTo>
                    <a:pt x="753" y="873"/>
                  </a:moveTo>
                  <a:lnTo>
                    <a:pt x="753" y="813"/>
                  </a:lnTo>
                  <a:lnTo>
                    <a:pt x="783" y="813"/>
                  </a:lnTo>
                  <a:lnTo>
                    <a:pt x="783" y="873"/>
                  </a:lnTo>
                  <a:lnTo>
                    <a:pt x="753" y="873"/>
                  </a:lnTo>
                  <a:close/>
                  <a:moveTo>
                    <a:pt x="151" y="873"/>
                  </a:moveTo>
                  <a:lnTo>
                    <a:pt x="151" y="813"/>
                  </a:lnTo>
                  <a:lnTo>
                    <a:pt x="181" y="813"/>
                  </a:lnTo>
                  <a:lnTo>
                    <a:pt x="181" y="873"/>
                  </a:lnTo>
                  <a:lnTo>
                    <a:pt x="151" y="873"/>
                  </a:lnTo>
                  <a:close/>
                  <a:moveTo>
                    <a:pt x="30" y="300"/>
                  </a:moveTo>
                  <a:lnTo>
                    <a:pt x="75" y="300"/>
                  </a:lnTo>
                  <a:lnTo>
                    <a:pt x="286" y="300"/>
                  </a:lnTo>
                  <a:lnTo>
                    <a:pt x="331" y="300"/>
                  </a:lnTo>
                  <a:lnTo>
                    <a:pt x="331" y="873"/>
                  </a:lnTo>
                  <a:lnTo>
                    <a:pt x="211" y="873"/>
                  </a:lnTo>
                  <a:lnTo>
                    <a:pt x="211" y="797"/>
                  </a:lnTo>
                  <a:lnTo>
                    <a:pt x="210" y="795"/>
                  </a:lnTo>
                  <a:lnTo>
                    <a:pt x="210" y="792"/>
                  </a:lnTo>
                  <a:lnTo>
                    <a:pt x="208" y="789"/>
                  </a:lnTo>
                  <a:lnTo>
                    <a:pt x="207" y="787"/>
                  </a:lnTo>
                  <a:lnTo>
                    <a:pt x="205" y="785"/>
                  </a:lnTo>
                  <a:lnTo>
                    <a:pt x="202" y="784"/>
                  </a:lnTo>
                  <a:lnTo>
                    <a:pt x="200" y="783"/>
                  </a:lnTo>
                  <a:lnTo>
                    <a:pt x="196" y="783"/>
                  </a:lnTo>
                  <a:lnTo>
                    <a:pt x="136" y="782"/>
                  </a:lnTo>
                  <a:lnTo>
                    <a:pt x="133" y="783"/>
                  </a:lnTo>
                  <a:lnTo>
                    <a:pt x="130" y="784"/>
                  </a:lnTo>
                  <a:lnTo>
                    <a:pt x="128" y="785"/>
                  </a:lnTo>
                  <a:lnTo>
                    <a:pt x="126" y="787"/>
                  </a:lnTo>
                  <a:lnTo>
                    <a:pt x="123" y="789"/>
                  </a:lnTo>
                  <a:lnTo>
                    <a:pt x="122" y="792"/>
                  </a:lnTo>
                  <a:lnTo>
                    <a:pt x="121" y="795"/>
                  </a:lnTo>
                  <a:lnTo>
                    <a:pt x="121" y="798"/>
                  </a:lnTo>
                  <a:lnTo>
                    <a:pt x="121" y="873"/>
                  </a:lnTo>
                  <a:lnTo>
                    <a:pt x="30" y="873"/>
                  </a:lnTo>
                  <a:lnTo>
                    <a:pt x="30" y="300"/>
                  </a:lnTo>
                  <a:close/>
                  <a:moveTo>
                    <a:pt x="90" y="180"/>
                  </a:moveTo>
                  <a:lnTo>
                    <a:pt x="271" y="180"/>
                  </a:lnTo>
                  <a:lnTo>
                    <a:pt x="271" y="270"/>
                  </a:lnTo>
                  <a:lnTo>
                    <a:pt x="90" y="270"/>
                  </a:lnTo>
                  <a:lnTo>
                    <a:pt x="90" y="180"/>
                  </a:lnTo>
                  <a:close/>
                  <a:moveTo>
                    <a:pt x="603" y="542"/>
                  </a:moveTo>
                  <a:lnTo>
                    <a:pt x="603" y="873"/>
                  </a:lnTo>
                  <a:lnTo>
                    <a:pt x="362" y="873"/>
                  </a:lnTo>
                  <a:lnTo>
                    <a:pt x="362" y="542"/>
                  </a:lnTo>
                  <a:lnTo>
                    <a:pt x="603" y="542"/>
                  </a:lnTo>
                  <a:close/>
                  <a:moveTo>
                    <a:pt x="693" y="300"/>
                  </a:moveTo>
                  <a:lnTo>
                    <a:pt x="813" y="300"/>
                  </a:lnTo>
                  <a:lnTo>
                    <a:pt x="813" y="361"/>
                  </a:lnTo>
                  <a:lnTo>
                    <a:pt x="693" y="361"/>
                  </a:lnTo>
                  <a:lnTo>
                    <a:pt x="693" y="300"/>
                  </a:lnTo>
                  <a:close/>
                  <a:moveTo>
                    <a:pt x="888" y="361"/>
                  </a:moveTo>
                  <a:lnTo>
                    <a:pt x="843" y="361"/>
                  </a:lnTo>
                  <a:lnTo>
                    <a:pt x="843" y="285"/>
                  </a:lnTo>
                  <a:lnTo>
                    <a:pt x="843" y="282"/>
                  </a:lnTo>
                  <a:lnTo>
                    <a:pt x="842" y="280"/>
                  </a:lnTo>
                  <a:lnTo>
                    <a:pt x="841" y="277"/>
                  </a:lnTo>
                  <a:lnTo>
                    <a:pt x="839" y="274"/>
                  </a:lnTo>
                  <a:lnTo>
                    <a:pt x="837" y="273"/>
                  </a:lnTo>
                  <a:lnTo>
                    <a:pt x="834" y="271"/>
                  </a:lnTo>
                  <a:lnTo>
                    <a:pt x="831" y="271"/>
                  </a:lnTo>
                  <a:lnTo>
                    <a:pt x="828" y="270"/>
                  </a:lnTo>
                  <a:lnTo>
                    <a:pt x="678" y="270"/>
                  </a:lnTo>
                  <a:lnTo>
                    <a:pt x="675" y="271"/>
                  </a:lnTo>
                  <a:lnTo>
                    <a:pt x="671" y="271"/>
                  </a:lnTo>
                  <a:lnTo>
                    <a:pt x="669" y="273"/>
                  </a:lnTo>
                  <a:lnTo>
                    <a:pt x="667" y="274"/>
                  </a:lnTo>
                  <a:lnTo>
                    <a:pt x="665" y="278"/>
                  </a:lnTo>
                  <a:lnTo>
                    <a:pt x="664" y="280"/>
                  </a:lnTo>
                  <a:lnTo>
                    <a:pt x="663" y="283"/>
                  </a:lnTo>
                  <a:lnTo>
                    <a:pt x="663" y="285"/>
                  </a:lnTo>
                  <a:lnTo>
                    <a:pt x="663" y="361"/>
                  </a:lnTo>
                  <a:lnTo>
                    <a:pt x="618" y="361"/>
                  </a:lnTo>
                  <a:lnTo>
                    <a:pt x="615" y="361"/>
                  </a:lnTo>
                  <a:lnTo>
                    <a:pt x="611" y="362"/>
                  </a:lnTo>
                  <a:lnTo>
                    <a:pt x="609" y="364"/>
                  </a:lnTo>
                  <a:lnTo>
                    <a:pt x="607" y="366"/>
                  </a:lnTo>
                  <a:lnTo>
                    <a:pt x="605" y="368"/>
                  </a:lnTo>
                  <a:lnTo>
                    <a:pt x="604" y="370"/>
                  </a:lnTo>
                  <a:lnTo>
                    <a:pt x="603" y="373"/>
                  </a:lnTo>
                  <a:lnTo>
                    <a:pt x="603" y="376"/>
                  </a:lnTo>
                  <a:lnTo>
                    <a:pt x="603" y="512"/>
                  </a:lnTo>
                  <a:lnTo>
                    <a:pt x="362" y="512"/>
                  </a:lnTo>
                  <a:lnTo>
                    <a:pt x="362" y="285"/>
                  </a:lnTo>
                  <a:lnTo>
                    <a:pt x="362" y="282"/>
                  </a:lnTo>
                  <a:lnTo>
                    <a:pt x="360" y="280"/>
                  </a:lnTo>
                  <a:lnTo>
                    <a:pt x="359" y="277"/>
                  </a:lnTo>
                  <a:lnTo>
                    <a:pt x="357" y="274"/>
                  </a:lnTo>
                  <a:lnTo>
                    <a:pt x="355" y="273"/>
                  </a:lnTo>
                  <a:lnTo>
                    <a:pt x="352" y="271"/>
                  </a:lnTo>
                  <a:lnTo>
                    <a:pt x="350" y="271"/>
                  </a:lnTo>
                  <a:lnTo>
                    <a:pt x="347" y="270"/>
                  </a:lnTo>
                  <a:lnTo>
                    <a:pt x="301" y="270"/>
                  </a:lnTo>
                  <a:lnTo>
                    <a:pt x="301" y="165"/>
                  </a:lnTo>
                  <a:lnTo>
                    <a:pt x="301" y="162"/>
                  </a:lnTo>
                  <a:lnTo>
                    <a:pt x="300" y="160"/>
                  </a:lnTo>
                  <a:lnTo>
                    <a:pt x="299" y="156"/>
                  </a:lnTo>
                  <a:lnTo>
                    <a:pt x="297" y="154"/>
                  </a:lnTo>
                  <a:lnTo>
                    <a:pt x="295" y="152"/>
                  </a:lnTo>
                  <a:lnTo>
                    <a:pt x="292" y="151"/>
                  </a:lnTo>
                  <a:lnTo>
                    <a:pt x="290" y="150"/>
                  </a:lnTo>
                  <a:lnTo>
                    <a:pt x="286" y="150"/>
                  </a:lnTo>
                  <a:lnTo>
                    <a:pt x="181" y="150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7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lnTo>
                    <a:pt x="153" y="6"/>
                  </a:lnTo>
                  <a:lnTo>
                    <a:pt x="152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1" y="150"/>
                  </a:lnTo>
                  <a:lnTo>
                    <a:pt x="75" y="150"/>
                  </a:lnTo>
                  <a:lnTo>
                    <a:pt x="73" y="150"/>
                  </a:lnTo>
                  <a:lnTo>
                    <a:pt x="70" y="151"/>
                  </a:lnTo>
                  <a:lnTo>
                    <a:pt x="68" y="152"/>
                  </a:lnTo>
                  <a:lnTo>
                    <a:pt x="64" y="154"/>
                  </a:lnTo>
                  <a:lnTo>
                    <a:pt x="63" y="156"/>
                  </a:lnTo>
                  <a:lnTo>
                    <a:pt x="61" y="160"/>
                  </a:lnTo>
                  <a:lnTo>
                    <a:pt x="61" y="162"/>
                  </a:lnTo>
                  <a:lnTo>
                    <a:pt x="60" y="165"/>
                  </a:lnTo>
                  <a:lnTo>
                    <a:pt x="60" y="270"/>
                  </a:lnTo>
                  <a:lnTo>
                    <a:pt x="15" y="270"/>
                  </a:lnTo>
                  <a:lnTo>
                    <a:pt x="12" y="271"/>
                  </a:lnTo>
                  <a:lnTo>
                    <a:pt x="10" y="271"/>
                  </a:lnTo>
                  <a:lnTo>
                    <a:pt x="7" y="273"/>
                  </a:lnTo>
                  <a:lnTo>
                    <a:pt x="4" y="274"/>
                  </a:lnTo>
                  <a:lnTo>
                    <a:pt x="3" y="278"/>
                  </a:lnTo>
                  <a:lnTo>
                    <a:pt x="1" y="280"/>
                  </a:lnTo>
                  <a:lnTo>
                    <a:pt x="1" y="283"/>
                  </a:lnTo>
                  <a:lnTo>
                    <a:pt x="0" y="285"/>
                  </a:lnTo>
                  <a:lnTo>
                    <a:pt x="0" y="888"/>
                  </a:lnTo>
                  <a:lnTo>
                    <a:pt x="1" y="891"/>
                  </a:lnTo>
                  <a:lnTo>
                    <a:pt x="1" y="894"/>
                  </a:lnTo>
                  <a:lnTo>
                    <a:pt x="3" y="897"/>
                  </a:lnTo>
                  <a:lnTo>
                    <a:pt x="4" y="899"/>
                  </a:lnTo>
                  <a:lnTo>
                    <a:pt x="7" y="900"/>
                  </a:lnTo>
                  <a:lnTo>
                    <a:pt x="10" y="902"/>
                  </a:lnTo>
                  <a:lnTo>
                    <a:pt x="12" y="903"/>
                  </a:lnTo>
                  <a:lnTo>
                    <a:pt x="15" y="903"/>
                  </a:lnTo>
                  <a:lnTo>
                    <a:pt x="136" y="903"/>
                  </a:lnTo>
                  <a:lnTo>
                    <a:pt x="196" y="903"/>
                  </a:lnTo>
                  <a:lnTo>
                    <a:pt x="347" y="903"/>
                  </a:lnTo>
                  <a:lnTo>
                    <a:pt x="618" y="903"/>
                  </a:lnTo>
                  <a:lnTo>
                    <a:pt x="738" y="903"/>
                  </a:lnTo>
                  <a:lnTo>
                    <a:pt x="798" y="903"/>
                  </a:lnTo>
                  <a:lnTo>
                    <a:pt x="888" y="903"/>
                  </a:lnTo>
                  <a:lnTo>
                    <a:pt x="891" y="902"/>
                  </a:lnTo>
                  <a:lnTo>
                    <a:pt x="895" y="902"/>
                  </a:lnTo>
                  <a:lnTo>
                    <a:pt x="897" y="900"/>
                  </a:lnTo>
                  <a:lnTo>
                    <a:pt x="899" y="899"/>
                  </a:lnTo>
                  <a:lnTo>
                    <a:pt x="901" y="897"/>
                  </a:lnTo>
                  <a:lnTo>
                    <a:pt x="902" y="894"/>
                  </a:lnTo>
                  <a:lnTo>
                    <a:pt x="903" y="891"/>
                  </a:lnTo>
                  <a:lnTo>
                    <a:pt x="903" y="888"/>
                  </a:lnTo>
                  <a:lnTo>
                    <a:pt x="903" y="376"/>
                  </a:lnTo>
                  <a:lnTo>
                    <a:pt x="903" y="373"/>
                  </a:lnTo>
                  <a:lnTo>
                    <a:pt x="902" y="370"/>
                  </a:lnTo>
                  <a:lnTo>
                    <a:pt x="901" y="368"/>
                  </a:lnTo>
                  <a:lnTo>
                    <a:pt x="899" y="366"/>
                  </a:lnTo>
                  <a:lnTo>
                    <a:pt x="897" y="364"/>
                  </a:lnTo>
                  <a:lnTo>
                    <a:pt x="895" y="362"/>
                  </a:lnTo>
                  <a:lnTo>
                    <a:pt x="891" y="361"/>
                  </a:lnTo>
                  <a:lnTo>
                    <a:pt x="88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9" name="Freeform 275">
              <a:extLst>
                <a:ext uri="{FF2B5EF4-FFF2-40B4-BE49-F238E27FC236}">
                  <a16:creationId xmlns:a16="http://schemas.microsoft.com/office/drawing/2014/main" id="{C1B6BD03-CCF6-F794-5CA4-398E51EC0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201" y="1984375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9 w 120"/>
                <a:gd name="T7" fmla="*/ 1 h 30"/>
                <a:gd name="T8" fmla="*/ 7 w 120"/>
                <a:gd name="T9" fmla="*/ 3 h 30"/>
                <a:gd name="T10" fmla="*/ 5 w 120"/>
                <a:gd name="T11" fmla="*/ 4 h 30"/>
                <a:gd name="T12" fmla="*/ 2 w 120"/>
                <a:gd name="T13" fmla="*/ 7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2 h 30"/>
                <a:gd name="T24" fmla="*/ 2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9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9 w 120"/>
                <a:gd name="T39" fmla="*/ 30 h 30"/>
                <a:gd name="T40" fmla="*/ 111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7 w 120"/>
                <a:gd name="T47" fmla="*/ 24 h 30"/>
                <a:gd name="T48" fmla="*/ 119 w 120"/>
                <a:gd name="T49" fmla="*/ 22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7 w 120"/>
                <a:gd name="T59" fmla="*/ 7 h 30"/>
                <a:gd name="T60" fmla="*/ 116 w 120"/>
                <a:gd name="T61" fmla="*/ 4 h 30"/>
                <a:gd name="T62" fmla="*/ 114 w 120"/>
                <a:gd name="T63" fmla="*/ 3 h 30"/>
                <a:gd name="T64" fmla="*/ 111 w 120"/>
                <a:gd name="T65" fmla="*/ 1 h 30"/>
                <a:gd name="T66" fmla="*/ 109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9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7" y="24"/>
                  </a:lnTo>
                  <a:lnTo>
                    <a:pt x="119" y="22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7" y="7"/>
                  </a:lnTo>
                  <a:lnTo>
                    <a:pt x="116" y="4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0" name="Freeform 276">
              <a:extLst>
                <a:ext uri="{FF2B5EF4-FFF2-40B4-BE49-F238E27FC236}">
                  <a16:creationId xmlns:a16="http://schemas.microsoft.com/office/drawing/2014/main" id="{28CEA49E-A5AE-1A1D-EF64-8FD275581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0415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29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6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7 h 30"/>
                <a:gd name="T26" fmla="*/ 237 w 241"/>
                <a:gd name="T27" fmla="*/ 5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5 h 30"/>
                <a:gd name="T46" fmla="*/ 3 w 241"/>
                <a:gd name="T47" fmla="*/ 7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6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29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29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1" name="Freeform 277">
              <a:extLst>
                <a:ext uri="{FF2B5EF4-FFF2-40B4-BE49-F238E27FC236}">
                  <a16:creationId xmlns:a16="http://schemas.microsoft.com/office/drawing/2014/main" id="{B9849FDD-1497-225B-4364-5D54A3955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0224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0 h 31"/>
                <a:gd name="T6" fmla="*/ 232 w 241"/>
                <a:gd name="T7" fmla="*/ 29 h 31"/>
                <a:gd name="T8" fmla="*/ 235 w 241"/>
                <a:gd name="T9" fmla="*/ 28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2 h 31"/>
                <a:gd name="T16" fmla="*/ 241 w 241"/>
                <a:gd name="T17" fmla="*/ 18 h 31"/>
                <a:gd name="T18" fmla="*/ 241 w 241"/>
                <a:gd name="T19" fmla="*/ 16 h 31"/>
                <a:gd name="T20" fmla="*/ 241 w 241"/>
                <a:gd name="T21" fmla="*/ 13 h 31"/>
                <a:gd name="T22" fmla="*/ 240 w 241"/>
                <a:gd name="T23" fmla="*/ 10 h 31"/>
                <a:gd name="T24" fmla="*/ 239 w 241"/>
                <a:gd name="T25" fmla="*/ 8 h 31"/>
                <a:gd name="T26" fmla="*/ 237 w 241"/>
                <a:gd name="T27" fmla="*/ 6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1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1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6 h 31"/>
                <a:gd name="T46" fmla="*/ 3 w 241"/>
                <a:gd name="T47" fmla="*/ 8 h 31"/>
                <a:gd name="T48" fmla="*/ 1 w 241"/>
                <a:gd name="T49" fmla="*/ 10 h 31"/>
                <a:gd name="T50" fmla="*/ 1 w 241"/>
                <a:gd name="T51" fmla="*/ 13 h 31"/>
                <a:gd name="T52" fmla="*/ 0 w 241"/>
                <a:gd name="T53" fmla="*/ 16 h 31"/>
                <a:gd name="T54" fmla="*/ 1 w 241"/>
                <a:gd name="T55" fmla="*/ 18 h 31"/>
                <a:gd name="T56" fmla="*/ 1 w 241"/>
                <a:gd name="T57" fmla="*/ 22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8 h 31"/>
                <a:gd name="T64" fmla="*/ 10 w 241"/>
                <a:gd name="T65" fmla="*/ 29 h 31"/>
                <a:gd name="T66" fmla="*/ 13 w 241"/>
                <a:gd name="T67" fmla="*/ 30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2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0" y="10"/>
                  </a:lnTo>
                  <a:lnTo>
                    <a:pt x="239" y="8"/>
                  </a:lnTo>
                  <a:lnTo>
                    <a:pt x="237" y="6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2" name="Freeform 278">
              <a:extLst>
                <a:ext uri="{FF2B5EF4-FFF2-40B4-BE49-F238E27FC236}">
                  <a16:creationId xmlns:a16="http://schemas.microsoft.com/office/drawing/2014/main" id="{122EE5D8-720F-DF7E-B9E8-4DB93130E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060575"/>
              <a:ext cx="76200" cy="9525"/>
            </a:xfrm>
            <a:custGeom>
              <a:avLst/>
              <a:gdLst>
                <a:gd name="T0" fmla="*/ 15 w 241"/>
                <a:gd name="T1" fmla="*/ 31 h 31"/>
                <a:gd name="T2" fmla="*/ 226 w 241"/>
                <a:gd name="T3" fmla="*/ 31 h 31"/>
                <a:gd name="T4" fmla="*/ 230 w 241"/>
                <a:gd name="T5" fmla="*/ 31 h 31"/>
                <a:gd name="T6" fmla="*/ 232 w 241"/>
                <a:gd name="T7" fmla="*/ 29 h 31"/>
                <a:gd name="T8" fmla="*/ 235 w 241"/>
                <a:gd name="T9" fmla="*/ 27 h 31"/>
                <a:gd name="T10" fmla="*/ 237 w 241"/>
                <a:gd name="T11" fmla="*/ 26 h 31"/>
                <a:gd name="T12" fmla="*/ 239 w 241"/>
                <a:gd name="T13" fmla="*/ 24 h 31"/>
                <a:gd name="T14" fmla="*/ 240 w 241"/>
                <a:gd name="T15" fmla="*/ 21 h 31"/>
                <a:gd name="T16" fmla="*/ 241 w 241"/>
                <a:gd name="T17" fmla="*/ 19 h 31"/>
                <a:gd name="T18" fmla="*/ 241 w 241"/>
                <a:gd name="T19" fmla="*/ 16 h 31"/>
                <a:gd name="T20" fmla="*/ 241 w 241"/>
                <a:gd name="T21" fmla="*/ 12 h 31"/>
                <a:gd name="T22" fmla="*/ 240 w 241"/>
                <a:gd name="T23" fmla="*/ 9 h 31"/>
                <a:gd name="T24" fmla="*/ 239 w 241"/>
                <a:gd name="T25" fmla="*/ 7 h 31"/>
                <a:gd name="T26" fmla="*/ 237 w 241"/>
                <a:gd name="T27" fmla="*/ 5 h 31"/>
                <a:gd name="T28" fmla="*/ 235 w 241"/>
                <a:gd name="T29" fmla="*/ 3 h 31"/>
                <a:gd name="T30" fmla="*/ 232 w 241"/>
                <a:gd name="T31" fmla="*/ 2 h 31"/>
                <a:gd name="T32" fmla="*/ 230 w 241"/>
                <a:gd name="T33" fmla="*/ 0 h 31"/>
                <a:gd name="T34" fmla="*/ 226 w 241"/>
                <a:gd name="T35" fmla="*/ 0 h 31"/>
                <a:gd name="T36" fmla="*/ 15 w 241"/>
                <a:gd name="T37" fmla="*/ 0 h 31"/>
                <a:gd name="T38" fmla="*/ 13 w 241"/>
                <a:gd name="T39" fmla="*/ 0 h 31"/>
                <a:gd name="T40" fmla="*/ 10 w 241"/>
                <a:gd name="T41" fmla="*/ 2 h 31"/>
                <a:gd name="T42" fmla="*/ 8 w 241"/>
                <a:gd name="T43" fmla="*/ 3 h 31"/>
                <a:gd name="T44" fmla="*/ 4 w 241"/>
                <a:gd name="T45" fmla="*/ 5 h 31"/>
                <a:gd name="T46" fmla="*/ 3 w 241"/>
                <a:gd name="T47" fmla="*/ 7 h 31"/>
                <a:gd name="T48" fmla="*/ 1 w 241"/>
                <a:gd name="T49" fmla="*/ 9 h 31"/>
                <a:gd name="T50" fmla="*/ 1 w 241"/>
                <a:gd name="T51" fmla="*/ 12 h 31"/>
                <a:gd name="T52" fmla="*/ 0 w 241"/>
                <a:gd name="T53" fmla="*/ 16 h 31"/>
                <a:gd name="T54" fmla="*/ 1 w 241"/>
                <a:gd name="T55" fmla="*/ 19 h 31"/>
                <a:gd name="T56" fmla="*/ 1 w 241"/>
                <a:gd name="T57" fmla="*/ 21 h 31"/>
                <a:gd name="T58" fmla="*/ 3 w 241"/>
                <a:gd name="T59" fmla="*/ 24 h 31"/>
                <a:gd name="T60" fmla="*/ 4 w 241"/>
                <a:gd name="T61" fmla="*/ 26 h 31"/>
                <a:gd name="T62" fmla="*/ 8 w 241"/>
                <a:gd name="T63" fmla="*/ 27 h 31"/>
                <a:gd name="T64" fmla="*/ 10 w 241"/>
                <a:gd name="T65" fmla="*/ 29 h 31"/>
                <a:gd name="T66" fmla="*/ 13 w 241"/>
                <a:gd name="T67" fmla="*/ 31 h 31"/>
                <a:gd name="T68" fmla="*/ 15 w 24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">
                  <a:moveTo>
                    <a:pt x="15" y="31"/>
                  </a:moveTo>
                  <a:lnTo>
                    <a:pt x="226" y="31"/>
                  </a:lnTo>
                  <a:lnTo>
                    <a:pt x="230" y="31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6"/>
                  </a:lnTo>
                  <a:lnTo>
                    <a:pt x="239" y="24"/>
                  </a:lnTo>
                  <a:lnTo>
                    <a:pt x="240" y="21"/>
                  </a:lnTo>
                  <a:lnTo>
                    <a:pt x="241" y="19"/>
                  </a:lnTo>
                  <a:lnTo>
                    <a:pt x="241" y="16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5" y="3"/>
                  </a:lnTo>
                  <a:lnTo>
                    <a:pt x="232" y="2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8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1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3" name="Freeform 279">
              <a:extLst>
                <a:ext uri="{FF2B5EF4-FFF2-40B4-BE49-F238E27FC236}">
                  <a16:creationId xmlns:a16="http://schemas.microsoft.com/office/drawing/2014/main" id="{5B7C67ED-1BA2-D352-07B0-F0B288FB7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0796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7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0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8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8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0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7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0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8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4" name="Freeform 280">
              <a:extLst>
                <a:ext uri="{FF2B5EF4-FFF2-40B4-BE49-F238E27FC236}">
                  <a16:creationId xmlns:a16="http://schemas.microsoft.com/office/drawing/2014/main" id="{D5BF6D98-6851-D5A0-9F8A-76D0AC91C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09867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1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2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2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1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1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2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5" name="Freeform 281">
              <a:extLst>
                <a:ext uri="{FF2B5EF4-FFF2-40B4-BE49-F238E27FC236}">
                  <a16:creationId xmlns:a16="http://schemas.microsoft.com/office/drawing/2014/main" id="{949536F6-CB71-7F8C-00FD-9C92A04CB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117725"/>
              <a:ext cx="76200" cy="9525"/>
            </a:xfrm>
            <a:custGeom>
              <a:avLst/>
              <a:gdLst>
                <a:gd name="T0" fmla="*/ 15 w 241"/>
                <a:gd name="T1" fmla="*/ 30 h 30"/>
                <a:gd name="T2" fmla="*/ 226 w 241"/>
                <a:gd name="T3" fmla="*/ 30 h 30"/>
                <a:gd name="T4" fmla="*/ 230 w 241"/>
                <a:gd name="T5" fmla="*/ 30 h 30"/>
                <a:gd name="T6" fmla="*/ 232 w 241"/>
                <a:gd name="T7" fmla="*/ 29 h 30"/>
                <a:gd name="T8" fmla="*/ 235 w 241"/>
                <a:gd name="T9" fmla="*/ 28 h 30"/>
                <a:gd name="T10" fmla="*/ 237 w 241"/>
                <a:gd name="T11" fmla="*/ 25 h 30"/>
                <a:gd name="T12" fmla="*/ 239 w 241"/>
                <a:gd name="T13" fmla="*/ 23 h 30"/>
                <a:gd name="T14" fmla="*/ 240 w 241"/>
                <a:gd name="T15" fmla="*/ 21 h 30"/>
                <a:gd name="T16" fmla="*/ 241 w 241"/>
                <a:gd name="T17" fmla="*/ 18 h 30"/>
                <a:gd name="T18" fmla="*/ 241 w 241"/>
                <a:gd name="T19" fmla="*/ 15 h 30"/>
                <a:gd name="T20" fmla="*/ 241 w 241"/>
                <a:gd name="T21" fmla="*/ 12 h 30"/>
                <a:gd name="T22" fmla="*/ 240 w 241"/>
                <a:gd name="T23" fmla="*/ 9 h 30"/>
                <a:gd name="T24" fmla="*/ 239 w 241"/>
                <a:gd name="T25" fmla="*/ 6 h 30"/>
                <a:gd name="T26" fmla="*/ 237 w 241"/>
                <a:gd name="T27" fmla="*/ 4 h 30"/>
                <a:gd name="T28" fmla="*/ 235 w 241"/>
                <a:gd name="T29" fmla="*/ 3 h 30"/>
                <a:gd name="T30" fmla="*/ 232 w 241"/>
                <a:gd name="T31" fmla="*/ 1 h 30"/>
                <a:gd name="T32" fmla="*/ 230 w 241"/>
                <a:gd name="T33" fmla="*/ 0 h 30"/>
                <a:gd name="T34" fmla="*/ 226 w 241"/>
                <a:gd name="T35" fmla="*/ 0 h 30"/>
                <a:gd name="T36" fmla="*/ 15 w 241"/>
                <a:gd name="T37" fmla="*/ 0 h 30"/>
                <a:gd name="T38" fmla="*/ 13 w 241"/>
                <a:gd name="T39" fmla="*/ 0 h 30"/>
                <a:gd name="T40" fmla="*/ 10 w 241"/>
                <a:gd name="T41" fmla="*/ 1 h 30"/>
                <a:gd name="T42" fmla="*/ 8 w 241"/>
                <a:gd name="T43" fmla="*/ 3 h 30"/>
                <a:gd name="T44" fmla="*/ 4 w 241"/>
                <a:gd name="T45" fmla="*/ 4 h 30"/>
                <a:gd name="T46" fmla="*/ 3 w 241"/>
                <a:gd name="T47" fmla="*/ 6 h 30"/>
                <a:gd name="T48" fmla="*/ 1 w 241"/>
                <a:gd name="T49" fmla="*/ 9 h 30"/>
                <a:gd name="T50" fmla="*/ 1 w 241"/>
                <a:gd name="T51" fmla="*/ 12 h 30"/>
                <a:gd name="T52" fmla="*/ 0 w 241"/>
                <a:gd name="T53" fmla="*/ 15 h 30"/>
                <a:gd name="T54" fmla="*/ 1 w 241"/>
                <a:gd name="T55" fmla="*/ 18 h 30"/>
                <a:gd name="T56" fmla="*/ 1 w 241"/>
                <a:gd name="T57" fmla="*/ 21 h 30"/>
                <a:gd name="T58" fmla="*/ 3 w 241"/>
                <a:gd name="T59" fmla="*/ 23 h 30"/>
                <a:gd name="T60" fmla="*/ 4 w 241"/>
                <a:gd name="T61" fmla="*/ 25 h 30"/>
                <a:gd name="T62" fmla="*/ 8 w 241"/>
                <a:gd name="T63" fmla="*/ 28 h 30"/>
                <a:gd name="T64" fmla="*/ 10 w 241"/>
                <a:gd name="T65" fmla="*/ 29 h 30"/>
                <a:gd name="T66" fmla="*/ 13 w 241"/>
                <a:gd name="T67" fmla="*/ 30 h 30"/>
                <a:gd name="T68" fmla="*/ 15 w 241"/>
                <a:gd name="T69" fmla="*/ 30 h 30"/>
                <a:gd name="T70" fmla="*/ 15 w 24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" h="30">
                  <a:moveTo>
                    <a:pt x="15" y="30"/>
                  </a:moveTo>
                  <a:lnTo>
                    <a:pt x="226" y="30"/>
                  </a:ln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5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6" name="Freeform 282">
              <a:extLst>
                <a:ext uri="{FF2B5EF4-FFF2-40B4-BE49-F238E27FC236}">
                  <a16:creationId xmlns:a16="http://schemas.microsoft.com/office/drawing/2014/main" id="{0F4C8832-EAB4-DD4B-2783-115F4C60D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1" y="2136775"/>
              <a:ext cx="76200" cy="9525"/>
            </a:xfrm>
            <a:custGeom>
              <a:avLst/>
              <a:gdLst>
                <a:gd name="T0" fmla="*/ 226 w 241"/>
                <a:gd name="T1" fmla="*/ 30 h 30"/>
                <a:gd name="T2" fmla="*/ 230 w 241"/>
                <a:gd name="T3" fmla="*/ 30 h 30"/>
                <a:gd name="T4" fmla="*/ 232 w 241"/>
                <a:gd name="T5" fmla="*/ 29 h 30"/>
                <a:gd name="T6" fmla="*/ 235 w 241"/>
                <a:gd name="T7" fmla="*/ 28 h 30"/>
                <a:gd name="T8" fmla="*/ 237 w 241"/>
                <a:gd name="T9" fmla="*/ 26 h 30"/>
                <a:gd name="T10" fmla="*/ 239 w 241"/>
                <a:gd name="T11" fmla="*/ 23 h 30"/>
                <a:gd name="T12" fmla="*/ 240 w 241"/>
                <a:gd name="T13" fmla="*/ 21 h 30"/>
                <a:gd name="T14" fmla="*/ 241 w 241"/>
                <a:gd name="T15" fmla="*/ 18 h 30"/>
                <a:gd name="T16" fmla="*/ 241 w 241"/>
                <a:gd name="T17" fmla="*/ 15 h 30"/>
                <a:gd name="T18" fmla="*/ 241 w 241"/>
                <a:gd name="T19" fmla="*/ 13 h 30"/>
                <a:gd name="T20" fmla="*/ 240 w 241"/>
                <a:gd name="T21" fmla="*/ 9 h 30"/>
                <a:gd name="T22" fmla="*/ 239 w 241"/>
                <a:gd name="T23" fmla="*/ 6 h 30"/>
                <a:gd name="T24" fmla="*/ 237 w 241"/>
                <a:gd name="T25" fmla="*/ 4 h 30"/>
                <a:gd name="T26" fmla="*/ 235 w 241"/>
                <a:gd name="T27" fmla="*/ 3 h 30"/>
                <a:gd name="T28" fmla="*/ 232 w 241"/>
                <a:gd name="T29" fmla="*/ 1 h 30"/>
                <a:gd name="T30" fmla="*/ 230 w 241"/>
                <a:gd name="T31" fmla="*/ 1 h 30"/>
                <a:gd name="T32" fmla="*/ 226 w 241"/>
                <a:gd name="T33" fmla="*/ 0 h 30"/>
                <a:gd name="T34" fmla="*/ 15 w 241"/>
                <a:gd name="T35" fmla="*/ 0 h 30"/>
                <a:gd name="T36" fmla="*/ 13 w 241"/>
                <a:gd name="T37" fmla="*/ 1 h 30"/>
                <a:gd name="T38" fmla="*/ 10 w 241"/>
                <a:gd name="T39" fmla="*/ 1 h 30"/>
                <a:gd name="T40" fmla="*/ 8 w 241"/>
                <a:gd name="T41" fmla="*/ 3 h 30"/>
                <a:gd name="T42" fmla="*/ 4 w 241"/>
                <a:gd name="T43" fmla="*/ 4 h 30"/>
                <a:gd name="T44" fmla="*/ 3 w 241"/>
                <a:gd name="T45" fmla="*/ 6 h 30"/>
                <a:gd name="T46" fmla="*/ 1 w 241"/>
                <a:gd name="T47" fmla="*/ 9 h 30"/>
                <a:gd name="T48" fmla="*/ 1 w 241"/>
                <a:gd name="T49" fmla="*/ 13 h 30"/>
                <a:gd name="T50" fmla="*/ 0 w 241"/>
                <a:gd name="T51" fmla="*/ 15 h 30"/>
                <a:gd name="T52" fmla="*/ 1 w 241"/>
                <a:gd name="T53" fmla="*/ 18 h 30"/>
                <a:gd name="T54" fmla="*/ 1 w 241"/>
                <a:gd name="T55" fmla="*/ 21 h 30"/>
                <a:gd name="T56" fmla="*/ 3 w 241"/>
                <a:gd name="T57" fmla="*/ 23 h 30"/>
                <a:gd name="T58" fmla="*/ 4 w 241"/>
                <a:gd name="T59" fmla="*/ 26 h 30"/>
                <a:gd name="T60" fmla="*/ 8 w 241"/>
                <a:gd name="T61" fmla="*/ 28 h 30"/>
                <a:gd name="T62" fmla="*/ 10 w 241"/>
                <a:gd name="T63" fmla="*/ 29 h 30"/>
                <a:gd name="T64" fmla="*/ 13 w 241"/>
                <a:gd name="T65" fmla="*/ 30 h 30"/>
                <a:gd name="T66" fmla="*/ 15 w 241"/>
                <a:gd name="T67" fmla="*/ 30 h 30"/>
                <a:gd name="T68" fmla="*/ 226 w 24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0">
                  <a:moveTo>
                    <a:pt x="226" y="30"/>
                  </a:moveTo>
                  <a:lnTo>
                    <a:pt x="230" y="30"/>
                  </a:lnTo>
                  <a:lnTo>
                    <a:pt x="232" y="29"/>
                  </a:lnTo>
                  <a:lnTo>
                    <a:pt x="235" y="28"/>
                  </a:lnTo>
                  <a:lnTo>
                    <a:pt x="237" y="26"/>
                  </a:lnTo>
                  <a:lnTo>
                    <a:pt x="239" y="23"/>
                  </a:lnTo>
                  <a:lnTo>
                    <a:pt x="240" y="21"/>
                  </a:lnTo>
                  <a:lnTo>
                    <a:pt x="241" y="18"/>
                  </a:lnTo>
                  <a:lnTo>
                    <a:pt x="241" y="15"/>
                  </a:lnTo>
                  <a:lnTo>
                    <a:pt x="241" y="13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7" y="4"/>
                  </a:lnTo>
                  <a:lnTo>
                    <a:pt x="235" y="3"/>
                  </a:lnTo>
                  <a:lnTo>
                    <a:pt x="232" y="1"/>
                  </a:lnTo>
                  <a:lnTo>
                    <a:pt x="230" y="1"/>
                  </a:lnTo>
                  <a:lnTo>
                    <a:pt x="226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22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7" name="Freeform 283">
              <a:extLst>
                <a:ext uri="{FF2B5EF4-FFF2-40B4-BE49-F238E27FC236}">
                  <a16:creationId xmlns:a16="http://schemas.microsoft.com/office/drawing/2014/main" id="{38D41DB4-3920-B3E7-3B08-78647E9F6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051050"/>
              <a:ext cx="57150" cy="9525"/>
            </a:xfrm>
            <a:custGeom>
              <a:avLst/>
              <a:gdLst>
                <a:gd name="T0" fmla="*/ 15 w 180"/>
                <a:gd name="T1" fmla="*/ 0 h 30"/>
                <a:gd name="T2" fmla="*/ 12 w 180"/>
                <a:gd name="T3" fmla="*/ 0 h 30"/>
                <a:gd name="T4" fmla="*/ 8 w 180"/>
                <a:gd name="T5" fmla="*/ 2 h 30"/>
                <a:gd name="T6" fmla="*/ 6 w 180"/>
                <a:gd name="T7" fmla="*/ 3 h 30"/>
                <a:gd name="T8" fmla="*/ 4 w 180"/>
                <a:gd name="T9" fmla="*/ 5 h 30"/>
                <a:gd name="T10" fmla="*/ 2 w 180"/>
                <a:gd name="T11" fmla="*/ 7 h 30"/>
                <a:gd name="T12" fmla="*/ 1 w 180"/>
                <a:gd name="T13" fmla="*/ 9 h 30"/>
                <a:gd name="T14" fmla="*/ 0 w 180"/>
                <a:gd name="T15" fmla="*/ 12 h 30"/>
                <a:gd name="T16" fmla="*/ 0 w 180"/>
                <a:gd name="T17" fmla="*/ 15 h 30"/>
                <a:gd name="T18" fmla="*/ 0 w 180"/>
                <a:gd name="T19" fmla="*/ 19 h 30"/>
                <a:gd name="T20" fmla="*/ 1 w 180"/>
                <a:gd name="T21" fmla="*/ 21 h 30"/>
                <a:gd name="T22" fmla="*/ 2 w 180"/>
                <a:gd name="T23" fmla="*/ 24 h 30"/>
                <a:gd name="T24" fmla="*/ 4 w 180"/>
                <a:gd name="T25" fmla="*/ 26 h 30"/>
                <a:gd name="T26" fmla="*/ 6 w 180"/>
                <a:gd name="T27" fmla="*/ 27 h 30"/>
                <a:gd name="T28" fmla="*/ 8 w 180"/>
                <a:gd name="T29" fmla="*/ 29 h 30"/>
                <a:gd name="T30" fmla="*/ 12 w 180"/>
                <a:gd name="T31" fmla="*/ 29 h 30"/>
                <a:gd name="T32" fmla="*/ 15 w 180"/>
                <a:gd name="T33" fmla="*/ 30 h 30"/>
                <a:gd name="T34" fmla="*/ 165 w 180"/>
                <a:gd name="T35" fmla="*/ 30 h 30"/>
                <a:gd name="T36" fmla="*/ 168 w 180"/>
                <a:gd name="T37" fmla="*/ 29 h 30"/>
                <a:gd name="T38" fmla="*/ 171 w 180"/>
                <a:gd name="T39" fmla="*/ 29 h 30"/>
                <a:gd name="T40" fmla="*/ 174 w 180"/>
                <a:gd name="T41" fmla="*/ 27 h 30"/>
                <a:gd name="T42" fmla="*/ 176 w 180"/>
                <a:gd name="T43" fmla="*/ 26 h 30"/>
                <a:gd name="T44" fmla="*/ 178 w 180"/>
                <a:gd name="T45" fmla="*/ 24 h 30"/>
                <a:gd name="T46" fmla="*/ 179 w 180"/>
                <a:gd name="T47" fmla="*/ 21 h 30"/>
                <a:gd name="T48" fmla="*/ 180 w 180"/>
                <a:gd name="T49" fmla="*/ 19 h 30"/>
                <a:gd name="T50" fmla="*/ 180 w 180"/>
                <a:gd name="T51" fmla="*/ 15 h 30"/>
                <a:gd name="T52" fmla="*/ 180 w 180"/>
                <a:gd name="T53" fmla="*/ 12 h 30"/>
                <a:gd name="T54" fmla="*/ 179 w 180"/>
                <a:gd name="T55" fmla="*/ 9 h 30"/>
                <a:gd name="T56" fmla="*/ 178 w 180"/>
                <a:gd name="T57" fmla="*/ 7 h 30"/>
                <a:gd name="T58" fmla="*/ 176 w 180"/>
                <a:gd name="T59" fmla="*/ 5 h 30"/>
                <a:gd name="T60" fmla="*/ 174 w 180"/>
                <a:gd name="T61" fmla="*/ 3 h 30"/>
                <a:gd name="T62" fmla="*/ 171 w 180"/>
                <a:gd name="T63" fmla="*/ 2 h 30"/>
                <a:gd name="T64" fmla="*/ 168 w 180"/>
                <a:gd name="T65" fmla="*/ 0 h 30"/>
                <a:gd name="T66" fmla="*/ 165 w 180"/>
                <a:gd name="T67" fmla="*/ 0 h 30"/>
                <a:gd name="T68" fmla="*/ 1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5" y="0"/>
                  </a:moveTo>
                  <a:lnTo>
                    <a:pt x="12" y="0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1"/>
                  </a:lnTo>
                  <a:lnTo>
                    <a:pt x="180" y="19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2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8" name="Freeform 284">
              <a:extLst>
                <a:ext uri="{FF2B5EF4-FFF2-40B4-BE49-F238E27FC236}">
                  <a16:creationId xmlns:a16="http://schemas.microsoft.com/office/drawing/2014/main" id="{918595D6-0A19-BD31-7C89-D0CC40FFA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0701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8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6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6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8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6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69" name="Freeform 285">
              <a:extLst>
                <a:ext uri="{FF2B5EF4-FFF2-40B4-BE49-F238E27FC236}">
                  <a16:creationId xmlns:a16="http://schemas.microsoft.com/office/drawing/2014/main" id="{58C27FE2-3D7C-6793-8451-29EC2FCC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0891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2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1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0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0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1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2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1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0" name="Freeform 286">
              <a:extLst>
                <a:ext uri="{FF2B5EF4-FFF2-40B4-BE49-F238E27FC236}">
                  <a16:creationId xmlns:a16="http://schemas.microsoft.com/office/drawing/2014/main" id="{43BB7DC5-EA8C-8F8E-0CE4-2A43FB7A7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1082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5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5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0 h 30"/>
                <a:gd name="T68" fmla="*/ 165 w 18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1" name="Freeform 287">
              <a:extLst>
                <a:ext uri="{FF2B5EF4-FFF2-40B4-BE49-F238E27FC236}">
                  <a16:creationId xmlns:a16="http://schemas.microsoft.com/office/drawing/2014/main" id="{2F91E5E4-F65A-9A0F-F28E-ECFC48B01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14630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1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7 h 30"/>
                <a:gd name="T14" fmla="*/ 1 w 180"/>
                <a:gd name="T15" fmla="*/ 10 h 30"/>
                <a:gd name="T16" fmla="*/ 0 w 180"/>
                <a:gd name="T17" fmla="*/ 13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3 h 30"/>
                <a:gd name="T56" fmla="*/ 179 w 180"/>
                <a:gd name="T57" fmla="*/ 10 h 30"/>
                <a:gd name="T58" fmla="*/ 178 w 180"/>
                <a:gd name="T59" fmla="*/ 7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2" name="Freeform 288">
              <a:extLst>
                <a:ext uri="{FF2B5EF4-FFF2-40B4-BE49-F238E27FC236}">
                  <a16:creationId xmlns:a16="http://schemas.microsoft.com/office/drawing/2014/main" id="{2811F38B-6745-CB20-ED10-48FCB8BC3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2127250"/>
              <a:ext cx="57150" cy="9525"/>
            </a:xfrm>
            <a:custGeom>
              <a:avLst/>
              <a:gdLst>
                <a:gd name="T0" fmla="*/ 165 w 180"/>
                <a:gd name="T1" fmla="*/ 0 h 30"/>
                <a:gd name="T2" fmla="*/ 15 w 180"/>
                <a:gd name="T3" fmla="*/ 0 h 30"/>
                <a:gd name="T4" fmla="*/ 12 w 180"/>
                <a:gd name="T5" fmla="*/ 0 h 30"/>
                <a:gd name="T6" fmla="*/ 8 w 180"/>
                <a:gd name="T7" fmla="*/ 1 h 30"/>
                <a:gd name="T8" fmla="*/ 6 w 180"/>
                <a:gd name="T9" fmla="*/ 3 h 30"/>
                <a:gd name="T10" fmla="*/ 4 w 180"/>
                <a:gd name="T11" fmla="*/ 4 h 30"/>
                <a:gd name="T12" fmla="*/ 2 w 180"/>
                <a:gd name="T13" fmla="*/ 6 h 30"/>
                <a:gd name="T14" fmla="*/ 1 w 180"/>
                <a:gd name="T15" fmla="*/ 9 h 30"/>
                <a:gd name="T16" fmla="*/ 0 w 180"/>
                <a:gd name="T17" fmla="*/ 12 h 30"/>
                <a:gd name="T18" fmla="*/ 0 w 180"/>
                <a:gd name="T19" fmla="*/ 15 h 30"/>
                <a:gd name="T20" fmla="*/ 0 w 180"/>
                <a:gd name="T21" fmla="*/ 18 h 30"/>
                <a:gd name="T22" fmla="*/ 1 w 180"/>
                <a:gd name="T23" fmla="*/ 21 h 30"/>
                <a:gd name="T24" fmla="*/ 2 w 180"/>
                <a:gd name="T25" fmla="*/ 23 h 30"/>
                <a:gd name="T26" fmla="*/ 4 w 180"/>
                <a:gd name="T27" fmla="*/ 26 h 30"/>
                <a:gd name="T28" fmla="*/ 6 w 180"/>
                <a:gd name="T29" fmla="*/ 28 h 30"/>
                <a:gd name="T30" fmla="*/ 8 w 180"/>
                <a:gd name="T31" fmla="*/ 29 h 30"/>
                <a:gd name="T32" fmla="*/ 12 w 180"/>
                <a:gd name="T33" fmla="*/ 30 h 30"/>
                <a:gd name="T34" fmla="*/ 15 w 180"/>
                <a:gd name="T35" fmla="*/ 30 h 30"/>
                <a:gd name="T36" fmla="*/ 165 w 180"/>
                <a:gd name="T37" fmla="*/ 30 h 30"/>
                <a:gd name="T38" fmla="*/ 168 w 180"/>
                <a:gd name="T39" fmla="*/ 30 h 30"/>
                <a:gd name="T40" fmla="*/ 171 w 180"/>
                <a:gd name="T41" fmla="*/ 29 h 30"/>
                <a:gd name="T42" fmla="*/ 174 w 180"/>
                <a:gd name="T43" fmla="*/ 28 h 30"/>
                <a:gd name="T44" fmla="*/ 176 w 180"/>
                <a:gd name="T45" fmla="*/ 26 h 30"/>
                <a:gd name="T46" fmla="*/ 178 w 180"/>
                <a:gd name="T47" fmla="*/ 23 h 30"/>
                <a:gd name="T48" fmla="*/ 179 w 180"/>
                <a:gd name="T49" fmla="*/ 21 h 30"/>
                <a:gd name="T50" fmla="*/ 180 w 180"/>
                <a:gd name="T51" fmla="*/ 18 h 30"/>
                <a:gd name="T52" fmla="*/ 180 w 180"/>
                <a:gd name="T53" fmla="*/ 15 h 30"/>
                <a:gd name="T54" fmla="*/ 180 w 180"/>
                <a:gd name="T55" fmla="*/ 12 h 30"/>
                <a:gd name="T56" fmla="*/ 179 w 180"/>
                <a:gd name="T57" fmla="*/ 9 h 30"/>
                <a:gd name="T58" fmla="*/ 178 w 180"/>
                <a:gd name="T59" fmla="*/ 6 h 30"/>
                <a:gd name="T60" fmla="*/ 176 w 180"/>
                <a:gd name="T61" fmla="*/ 4 h 30"/>
                <a:gd name="T62" fmla="*/ 174 w 180"/>
                <a:gd name="T63" fmla="*/ 3 h 30"/>
                <a:gd name="T64" fmla="*/ 171 w 180"/>
                <a:gd name="T65" fmla="*/ 1 h 30"/>
                <a:gd name="T66" fmla="*/ 168 w 180"/>
                <a:gd name="T67" fmla="*/ 1 h 30"/>
                <a:gd name="T68" fmla="*/ 165 w 180"/>
                <a:gd name="T69" fmla="*/ 0 h 30"/>
                <a:gd name="T70" fmla="*/ 165 w 18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4" y="28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3" name="Freeform 289">
              <a:extLst>
                <a:ext uri="{FF2B5EF4-FFF2-40B4-BE49-F238E27FC236}">
                  <a16:creationId xmlns:a16="http://schemas.microsoft.com/office/drawing/2014/main" id="{72EF3550-907B-9A07-D415-977E72340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1082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5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5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4" name="Freeform 290">
              <a:extLst>
                <a:ext uri="{FF2B5EF4-FFF2-40B4-BE49-F238E27FC236}">
                  <a16:creationId xmlns:a16="http://schemas.microsoft.com/office/drawing/2014/main" id="{80457A7C-9580-152E-D4DD-947B4CFF4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1272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8 w 181"/>
                <a:gd name="T5" fmla="*/ 30 h 30"/>
                <a:gd name="T6" fmla="*/ 171 w 181"/>
                <a:gd name="T7" fmla="*/ 29 h 30"/>
                <a:gd name="T8" fmla="*/ 173 w 181"/>
                <a:gd name="T9" fmla="*/ 28 h 30"/>
                <a:gd name="T10" fmla="*/ 175 w 181"/>
                <a:gd name="T11" fmla="*/ 26 h 30"/>
                <a:gd name="T12" fmla="*/ 178 w 181"/>
                <a:gd name="T13" fmla="*/ 23 h 30"/>
                <a:gd name="T14" fmla="*/ 179 w 181"/>
                <a:gd name="T15" fmla="*/ 21 h 30"/>
                <a:gd name="T16" fmla="*/ 180 w 181"/>
                <a:gd name="T17" fmla="*/ 18 h 30"/>
                <a:gd name="T18" fmla="*/ 181 w 181"/>
                <a:gd name="T19" fmla="*/ 15 h 30"/>
                <a:gd name="T20" fmla="*/ 180 w 181"/>
                <a:gd name="T21" fmla="*/ 12 h 30"/>
                <a:gd name="T22" fmla="*/ 179 w 181"/>
                <a:gd name="T23" fmla="*/ 9 h 30"/>
                <a:gd name="T24" fmla="*/ 178 w 181"/>
                <a:gd name="T25" fmla="*/ 6 h 30"/>
                <a:gd name="T26" fmla="*/ 175 w 181"/>
                <a:gd name="T27" fmla="*/ 4 h 30"/>
                <a:gd name="T28" fmla="*/ 173 w 181"/>
                <a:gd name="T29" fmla="*/ 3 h 30"/>
                <a:gd name="T30" fmla="*/ 171 w 181"/>
                <a:gd name="T31" fmla="*/ 1 h 30"/>
                <a:gd name="T32" fmla="*/ 168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1 w 181"/>
                <a:gd name="T39" fmla="*/ 0 h 30"/>
                <a:gd name="T40" fmla="*/ 9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3 w 181"/>
                <a:gd name="T47" fmla="*/ 6 h 30"/>
                <a:gd name="T48" fmla="*/ 1 w 181"/>
                <a:gd name="T49" fmla="*/ 9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3 w 181"/>
                <a:gd name="T59" fmla="*/ 23 h 30"/>
                <a:gd name="T60" fmla="*/ 4 w 181"/>
                <a:gd name="T61" fmla="*/ 26 h 30"/>
                <a:gd name="T62" fmla="*/ 6 w 181"/>
                <a:gd name="T63" fmla="*/ 28 h 30"/>
                <a:gd name="T64" fmla="*/ 9 w 181"/>
                <a:gd name="T65" fmla="*/ 29 h 30"/>
                <a:gd name="T66" fmla="*/ 11 w 181"/>
                <a:gd name="T67" fmla="*/ 30 h 30"/>
                <a:gd name="T68" fmla="*/ 15 w 181"/>
                <a:gd name="T69" fmla="*/ 30 h 30"/>
                <a:gd name="T70" fmla="*/ 15 w 181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6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5" name="Freeform 291">
              <a:extLst>
                <a:ext uri="{FF2B5EF4-FFF2-40B4-BE49-F238E27FC236}">
                  <a16:creationId xmlns:a16="http://schemas.microsoft.com/office/drawing/2014/main" id="{4356A6B8-ECAA-DCFC-BCCA-0474E0EF6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2146300"/>
              <a:ext cx="57150" cy="9525"/>
            </a:xfrm>
            <a:custGeom>
              <a:avLst/>
              <a:gdLst>
                <a:gd name="T0" fmla="*/ 166 w 181"/>
                <a:gd name="T1" fmla="*/ 0 h 30"/>
                <a:gd name="T2" fmla="*/ 15 w 181"/>
                <a:gd name="T3" fmla="*/ 0 h 30"/>
                <a:gd name="T4" fmla="*/ 11 w 181"/>
                <a:gd name="T5" fmla="*/ 1 h 30"/>
                <a:gd name="T6" fmla="*/ 9 w 181"/>
                <a:gd name="T7" fmla="*/ 1 h 30"/>
                <a:gd name="T8" fmla="*/ 6 w 181"/>
                <a:gd name="T9" fmla="*/ 3 h 30"/>
                <a:gd name="T10" fmla="*/ 4 w 181"/>
                <a:gd name="T11" fmla="*/ 4 h 30"/>
                <a:gd name="T12" fmla="*/ 3 w 181"/>
                <a:gd name="T13" fmla="*/ 7 h 30"/>
                <a:gd name="T14" fmla="*/ 1 w 181"/>
                <a:gd name="T15" fmla="*/ 10 h 30"/>
                <a:gd name="T16" fmla="*/ 0 w 181"/>
                <a:gd name="T17" fmla="*/ 13 h 30"/>
                <a:gd name="T18" fmla="*/ 0 w 181"/>
                <a:gd name="T19" fmla="*/ 15 h 30"/>
                <a:gd name="T20" fmla="*/ 0 w 181"/>
                <a:gd name="T21" fmla="*/ 18 h 30"/>
                <a:gd name="T22" fmla="*/ 1 w 181"/>
                <a:gd name="T23" fmla="*/ 21 h 30"/>
                <a:gd name="T24" fmla="*/ 3 w 181"/>
                <a:gd name="T25" fmla="*/ 23 h 30"/>
                <a:gd name="T26" fmla="*/ 4 w 181"/>
                <a:gd name="T27" fmla="*/ 26 h 30"/>
                <a:gd name="T28" fmla="*/ 6 w 181"/>
                <a:gd name="T29" fmla="*/ 28 h 30"/>
                <a:gd name="T30" fmla="*/ 9 w 181"/>
                <a:gd name="T31" fmla="*/ 29 h 30"/>
                <a:gd name="T32" fmla="*/ 11 w 181"/>
                <a:gd name="T33" fmla="*/ 30 h 30"/>
                <a:gd name="T34" fmla="*/ 15 w 181"/>
                <a:gd name="T35" fmla="*/ 30 h 30"/>
                <a:gd name="T36" fmla="*/ 166 w 181"/>
                <a:gd name="T37" fmla="*/ 30 h 30"/>
                <a:gd name="T38" fmla="*/ 168 w 181"/>
                <a:gd name="T39" fmla="*/ 30 h 30"/>
                <a:gd name="T40" fmla="*/ 171 w 181"/>
                <a:gd name="T41" fmla="*/ 29 h 30"/>
                <a:gd name="T42" fmla="*/ 173 w 181"/>
                <a:gd name="T43" fmla="*/ 28 h 30"/>
                <a:gd name="T44" fmla="*/ 175 w 181"/>
                <a:gd name="T45" fmla="*/ 26 h 30"/>
                <a:gd name="T46" fmla="*/ 178 w 181"/>
                <a:gd name="T47" fmla="*/ 23 h 30"/>
                <a:gd name="T48" fmla="*/ 179 w 181"/>
                <a:gd name="T49" fmla="*/ 21 h 30"/>
                <a:gd name="T50" fmla="*/ 180 w 181"/>
                <a:gd name="T51" fmla="*/ 18 h 30"/>
                <a:gd name="T52" fmla="*/ 181 w 181"/>
                <a:gd name="T53" fmla="*/ 15 h 30"/>
                <a:gd name="T54" fmla="*/ 180 w 181"/>
                <a:gd name="T55" fmla="*/ 13 h 30"/>
                <a:gd name="T56" fmla="*/ 179 w 181"/>
                <a:gd name="T57" fmla="*/ 10 h 30"/>
                <a:gd name="T58" fmla="*/ 178 w 181"/>
                <a:gd name="T59" fmla="*/ 7 h 30"/>
                <a:gd name="T60" fmla="*/ 175 w 181"/>
                <a:gd name="T61" fmla="*/ 4 h 30"/>
                <a:gd name="T62" fmla="*/ 173 w 181"/>
                <a:gd name="T63" fmla="*/ 3 h 30"/>
                <a:gd name="T64" fmla="*/ 171 w 181"/>
                <a:gd name="T65" fmla="*/ 1 h 30"/>
                <a:gd name="T66" fmla="*/ 168 w 181"/>
                <a:gd name="T67" fmla="*/ 1 h 30"/>
                <a:gd name="T68" fmla="*/ 166 w 181"/>
                <a:gd name="T69" fmla="*/ 0 h 30"/>
                <a:gd name="T70" fmla="*/ 166 w 181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30">
                  <a:moveTo>
                    <a:pt x="166" y="0"/>
                  </a:move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66" y="30"/>
                  </a:lnTo>
                  <a:lnTo>
                    <a:pt x="168" y="30"/>
                  </a:lnTo>
                  <a:lnTo>
                    <a:pt x="171" y="29"/>
                  </a:lnTo>
                  <a:lnTo>
                    <a:pt x="173" y="28"/>
                  </a:lnTo>
                  <a:lnTo>
                    <a:pt x="175" y="26"/>
                  </a:lnTo>
                  <a:lnTo>
                    <a:pt x="178" y="23"/>
                  </a:lnTo>
                  <a:lnTo>
                    <a:pt x="179" y="21"/>
                  </a:lnTo>
                  <a:lnTo>
                    <a:pt x="180" y="18"/>
                  </a:lnTo>
                  <a:lnTo>
                    <a:pt x="181" y="15"/>
                  </a:lnTo>
                  <a:lnTo>
                    <a:pt x="180" y="13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5" y="4"/>
                  </a:lnTo>
                  <a:lnTo>
                    <a:pt x="173" y="3"/>
                  </a:lnTo>
                  <a:lnTo>
                    <a:pt x="171" y="1"/>
                  </a:lnTo>
                  <a:lnTo>
                    <a:pt x="168" y="1"/>
                  </a:lnTo>
                  <a:lnTo>
                    <a:pt x="166" y="0"/>
                  </a:lnTo>
                  <a:lnTo>
                    <a:pt x="1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C028B7D-8660-85CD-7387-B6DF4EE5F975}"/>
              </a:ext>
            </a:extLst>
          </p:cNvPr>
          <p:cNvGrpSpPr/>
          <p:nvPr/>
        </p:nvGrpSpPr>
        <p:grpSpPr>
          <a:xfrm>
            <a:off x="6879110" y="2667927"/>
            <a:ext cx="287338" cy="287338"/>
            <a:chOff x="885825" y="1925638"/>
            <a:chExt cx="287338" cy="287338"/>
          </a:xfrm>
          <a:solidFill>
            <a:srgbClr val="3B3939"/>
          </a:solidFill>
        </p:grpSpPr>
        <p:sp>
          <p:nvSpPr>
            <p:cNvPr id="77" name="Freeform 50">
              <a:extLst>
                <a:ext uri="{FF2B5EF4-FFF2-40B4-BE49-F238E27FC236}">
                  <a16:creationId xmlns:a16="http://schemas.microsoft.com/office/drawing/2014/main" id="{94F1A2A8-1AB8-3BF0-96CB-60387ADB2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8" name="Freeform 51">
              <a:extLst>
                <a:ext uri="{FF2B5EF4-FFF2-40B4-BE49-F238E27FC236}">
                  <a16:creationId xmlns:a16="http://schemas.microsoft.com/office/drawing/2014/main" id="{C3CBE1C7-AE57-C357-4BBF-ACB55725E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9" name="Freeform 52">
              <a:extLst>
                <a:ext uri="{FF2B5EF4-FFF2-40B4-BE49-F238E27FC236}">
                  <a16:creationId xmlns:a16="http://schemas.microsoft.com/office/drawing/2014/main" id="{80A9F383-AF77-853C-8B5E-9D2B46584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80" name="Freeform 53">
              <a:extLst>
                <a:ext uri="{FF2B5EF4-FFF2-40B4-BE49-F238E27FC236}">
                  <a16:creationId xmlns:a16="http://schemas.microsoft.com/office/drawing/2014/main" id="{50517599-1493-2123-9C8B-A5D7DCA7F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81" name="Freeform 54">
              <a:extLst>
                <a:ext uri="{FF2B5EF4-FFF2-40B4-BE49-F238E27FC236}">
                  <a16:creationId xmlns:a16="http://schemas.microsoft.com/office/drawing/2014/main" id="{2650A828-A30C-7279-348D-04551085F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82" name="Freeform 55">
              <a:extLst>
                <a:ext uri="{FF2B5EF4-FFF2-40B4-BE49-F238E27FC236}">
                  <a16:creationId xmlns:a16="http://schemas.microsoft.com/office/drawing/2014/main" id="{B5D25237-7B04-E1AB-30F4-EA73CDB6C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83" name="Freeform 56">
              <a:extLst>
                <a:ext uri="{FF2B5EF4-FFF2-40B4-BE49-F238E27FC236}">
                  <a16:creationId xmlns:a16="http://schemas.microsoft.com/office/drawing/2014/main" id="{E317EEBA-BE18-F649-B5A8-42497F2F7F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2F4DCE3-B00E-4A9C-1D3F-DDEFD93C5A44}"/>
              </a:ext>
            </a:extLst>
          </p:cNvPr>
          <p:cNvGrpSpPr/>
          <p:nvPr/>
        </p:nvGrpSpPr>
        <p:grpSpPr>
          <a:xfrm>
            <a:off x="7591145" y="3602085"/>
            <a:ext cx="285750" cy="249238"/>
            <a:chOff x="3173413" y="1952625"/>
            <a:chExt cx="285750" cy="249238"/>
          </a:xfrm>
          <a:solidFill>
            <a:srgbClr val="E2583D"/>
          </a:solidFill>
        </p:grpSpPr>
        <p:sp>
          <p:nvSpPr>
            <p:cNvPr id="85" name="Freeform 83">
              <a:extLst>
                <a:ext uri="{FF2B5EF4-FFF2-40B4-BE49-F238E27FC236}">
                  <a16:creationId xmlns:a16="http://schemas.microsoft.com/office/drawing/2014/main" id="{B67A2C06-F34F-DE33-53C8-2DC395076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3413" y="1952625"/>
              <a:ext cx="225425" cy="249238"/>
            </a:xfrm>
            <a:custGeom>
              <a:avLst/>
              <a:gdLst>
                <a:gd name="T0" fmla="*/ 37 w 713"/>
                <a:gd name="T1" fmla="*/ 654 h 786"/>
                <a:gd name="T2" fmla="*/ 60 w 713"/>
                <a:gd name="T3" fmla="*/ 578 h 786"/>
                <a:gd name="T4" fmla="*/ 188 w 713"/>
                <a:gd name="T5" fmla="*/ 520 h 786"/>
                <a:gd name="T6" fmla="*/ 295 w 713"/>
                <a:gd name="T7" fmla="*/ 482 h 786"/>
                <a:gd name="T8" fmla="*/ 299 w 713"/>
                <a:gd name="T9" fmla="*/ 372 h 786"/>
                <a:gd name="T10" fmla="*/ 265 w 713"/>
                <a:gd name="T11" fmla="*/ 342 h 786"/>
                <a:gd name="T12" fmla="*/ 241 w 713"/>
                <a:gd name="T13" fmla="*/ 287 h 786"/>
                <a:gd name="T14" fmla="*/ 235 w 713"/>
                <a:gd name="T15" fmla="*/ 248 h 786"/>
                <a:gd name="T16" fmla="*/ 220 w 713"/>
                <a:gd name="T17" fmla="*/ 237 h 786"/>
                <a:gd name="T18" fmla="*/ 221 w 713"/>
                <a:gd name="T19" fmla="*/ 202 h 786"/>
                <a:gd name="T20" fmla="*/ 235 w 713"/>
                <a:gd name="T21" fmla="*/ 193 h 786"/>
                <a:gd name="T22" fmla="*/ 235 w 713"/>
                <a:gd name="T23" fmla="*/ 164 h 786"/>
                <a:gd name="T24" fmla="*/ 225 w 713"/>
                <a:gd name="T25" fmla="*/ 96 h 786"/>
                <a:gd name="T26" fmla="*/ 246 w 713"/>
                <a:gd name="T27" fmla="*/ 83 h 786"/>
                <a:gd name="T28" fmla="*/ 275 w 713"/>
                <a:gd name="T29" fmla="*/ 79 h 786"/>
                <a:gd name="T30" fmla="*/ 289 w 713"/>
                <a:gd name="T31" fmla="*/ 56 h 786"/>
                <a:gd name="T32" fmla="*/ 345 w 713"/>
                <a:gd name="T33" fmla="*/ 34 h 786"/>
                <a:gd name="T34" fmla="*/ 459 w 713"/>
                <a:gd name="T35" fmla="*/ 42 h 786"/>
                <a:gd name="T36" fmla="*/ 490 w 713"/>
                <a:gd name="T37" fmla="*/ 64 h 786"/>
                <a:gd name="T38" fmla="*/ 493 w 713"/>
                <a:gd name="T39" fmla="*/ 123 h 786"/>
                <a:gd name="T40" fmla="*/ 476 w 713"/>
                <a:gd name="T41" fmla="*/ 189 h 786"/>
                <a:gd name="T42" fmla="*/ 489 w 713"/>
                <a:gd name="T43" fmla="*/ 198 h 786"/>
                <a:gd name="T44" fmla="*/ 493 w 713"/>
                <a:gd name="T45" fmla="*/ 238 h 786"/>
                <a:gd name="T46" fmla="*/ 479 w 713"/>
                <a:gd name="T47" fmla="*/ 248 h 786"/>
                <a:gd name="T48" fmla="*/ 473 w 713"/>
                <a:gd name="T49" fmla="*/ 287 h 786"/>
                <a:gd name="T50" fmla="*/ 453 w 713"/>
                <a:gd name="T51" fmla="*/ 342 h 786"/>
                <a:gd name="T52" fmla="*/ 424 w 713"/>
                <a:gd name="T53" fmla="*/ 372 h 786"/>
                <a:gd name="T54" fmla="*/ 427 w 713"/>
                <a:gd name="T55" fmla="*/ 482 h 786"/>
                <a:gd name="T56" fmla="*/ 531 w 713"/>
                <a:gd name="T57" fmla="*/ 520 h 786"/>
                <a:gd name="T58" fmla="*/ 654 w 713"/>
                <a:gd name="T59" fmla="*/ 578 h 786"/>
                <a:gd name="T60" fmla="*/ 677 w 713"/>
                <a:gd name="T61" fmla="*/ 654 h 786"/>
                <a:gd name="T62" fmla="*/ 30 w 713"/>
                <a:gd name="T63" fmla="*/ 756 h 786"/>
                <a:gd name="T64" fmla="*/ 452 w 713"/>
                <a:gd name="T65" fmla="*/ 387 h 786"/>
                <a:gd name="T66" fmla="*/ 490 w 713"/>
                <a:gd name="T67" fmla="*/ 335 h 786"/>
                <a:gd name="T68" fmla="*/ 504 w 713"/>
                <a:gd name="T69" fmla="*/ 271 h 786"/>
                <a:gd name="T70" fmla="*/ 524 w 713"/>
                <a:gd name="T71" fmla="*/ 238 h 786"/>
                <a:gd name="T72" fmla="*/ 522 w 713"/>
                <a:gd name="T73" fmla="*/ 193 h 786"/>
                <a:gd name="T74" fmla="*/ 523 w 713"/>
                <a:gd name="T75" fmla="*/ 127 h 786"/>
                <a:gd name="T76" fmla="*/ 516 w 713"/>
                <a:gd name="T77" fmla="*/ 49 h 786"/>
                <a:gd name="T78" fmla="*/ 471 w 713"/>
                <a:gd name="T79" fmla="*/ 14 h 786"/>
                <a:gd name="T80" fmla="*/ 385 w 713"/>
                <a:gd name="T81" fmla="*/ 0 h 786"/>
                <a:gd name="T82" fmla="*/ 290 w 713"/>
                <a:gd name="T83" fmla="*/ 19 h 786"/>
                <a:gd name="T84" fmla="*/ 252 w 713"/>
                <a:gd name="T85" fmla="*/ 53 h 786"/>
                <a:gd name="T86" fmla="*/ 211 w 713"/>
                <a:gd name="T87" fmla="*/ 64 h 786"/>
                <a:gd name="T88" fmla="*/ 195 w 713"/>
                <a:gd name="T89" fmla="*/ 95 h 786"/>
                <a:gd name="T90" fmla="*/ 206 w 713"/>
                <a:gd name="T91" fmla="*/ 173 h 786"/>
                <a:gd name="T92" fmla="*/ 192 w 713"/>
                <a:gd name="T93" fmla="*/ 192 h 786"/>
                <a:gd name="T94" fmla="*/ 189 w 713"/>
                <a:gd name="T95" fmla="*/ 237 h 786"/>
                <a:gd name="T96" fmla="*/ 209 w 713"/>
                <a:gd name="T97" fmla="*/ 271 h 786"/>
                <a:gd name="T98" fmla="*/ 226 w 713"/>
                <a:gd name="T99" fmla="*/ 336 h 786"/>
                <a:gd name="T100" fmla="*/ 271 w 713"/>
                <a:gd name="T101" fmla="*/ 388 h 786"/>
                <a:gd name="T102" fmla="*/ 173 w 713"/>
                <a:gd name="T103" fmla="*/ 495 h 786"/>
                <a:gd name="T104" fmla="*/ 51 w 713"/>
                <a:gd name="T105" fmla="*/ 549 h 786"/>
                <a:gd name="T106" fmla="*/ 16 w 713"/>
                <a:gd name="T107" fmla="*/ 596 h 786"/>
                <a:gd name="T108" fmla="*/ 1 w 713"/>
                <a:gd name="T109" fmla="*/ 725 h 786"/>
                <a:gd name="T110" fmla="*/ 3 w 713"/>
                <a:gd name="T111" fmla="*/ 780 h 786"/>
                <a:gd name="T112" fmla="*/ 698 w 713"/>
                <a:gd name="T113" fmla="*/ 786 h 786"/>
                <a:gd name="T114" fmla="*/ 712 w 713"/>
                <a:gd name="T115" fmla="*/ 777 h 786"/>
                <a:gd name="T116" fmla="*/ 711 w 713"/>
                <a:gd name="T117" fmla="*/ 697 h 786"/>
                <a:gd name="T118" fmla="*/ 695 w 713"/>
                <a:gd name="T119" fmla="*/ 586 h 786"/>
                <a:gd name="T120" fmla="*/ 655 w 713"/>
                <a:gd name="T121" fmla="*/ 542 h 786"/>
                <a:gd name="T122" fmla="*/ 512 w 713"/>
                <a:gd name="T123" fmla="*/ 482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786">
                  <a:moveTo>
                    <a:pt x="30" y="756"/>
                  </a:moveTo>
                  <a:lnTo>
                    <a:pt x="31" y="740"/>
                  </a:lnTo>
                  <a:lnTo>
                    <a:pt x="31" y="722"/>
                  </a:lnTo>
                  <a:lnTo>
                    <a:pt x="32" y="700"/>
                  </a:lnTo>
                  <a:lnTo>
                    <a:pt x="34" y="678"/>
                  </a:lnTo>
                  <a:lnTo>
                    <a:pt x="37" y="654"/>
                  </a:lnTo>
                  <a:lnTo>
                    <a:pt x="40" y="632"/>
                  </a:lnTo>
                  <a:lnTo>
                    <a:pt x="43" y="613"/>
                  </a:lnTo>
                  <a:lnTo>
                    <a:pt x="47" y="595"/>
                  </a:lnTo>
                  <a:lnTo>
                    <a:pt x="51" y="589"/>
                  </a:lnTo>
                  <a:lnTo>
                    <a:pt x="55" y="584"/>
                  </a:lnTo>
                  <a:lnTo>
                    <a:pt x="60" y="578"/>
                  </a:lnTo>
                  <a:lnTo>
                    <a:pt x="68" y="573"/>
                  </a:lnTo>
                  <a:lnTo>
                    <a:pt x="86" y="562"/>
                  </a:lnTo>
                  <a:lnTo>
                    <a:pt x="107" y="551"/>
                  </a:lnTo>
                  <a:lnTo>
                    <a:pt x="133" y="541"/>
                  </a:lnTo>
                  <a:lnTo>
                    <a:pt x="160" y="531"/>
                  </a:lnTo>
                  <a:lnTo>
                    <a:pt x="188" y="520"/>
                  </a:lnTo>
                  <a:lnTo>
                    <a:pt x="216" y="511"/>
                  </a:lnTo>
                  <a:lnTo>
                    <a:pt x="235" y="504"/>
                  </a:lnTo>
                  <a:lnTo>
                    <a:pt x="254" y="498"/>
                  </a:lnTo>
                  <a:lnTo>
                    <a:pt x="273" y="491"/>
                  </a:lnTo>
                  <a:lnTo>
                    <a:pt x="292" y="484"/>
                  </a:lnTo>
                  <a:lnTo>
                    <a:pt x="295" y="482"/>
                  </a:lnTo>
                  <a:lnTo>
                    <a:pt x="298" y="479"/>
                  </a:lnTo>
                  <a:lnTo>
                    <a:pt x="300" y="474"/>
                  </a:lnTo>
                  <a:lnTo>
                    <a:pt x="301" y="470"/>
                  </a:lnTo>
                  <a:lnTo>
                    <a:pt x="301" y="380"/>
                  </a:lnTo>
                  <a:lnTo>
                    <a:pt x="300" y="376"/>
                  </a:lnTo>
                  <a:lnTo>
                    <a:pt x="299" y="372"/>
                  </a:lnTo>
                  <a:lnTo>
                    <a:pt x="296" y="369"/>
                  </a:lnTo>
                  <a:lnTo>
                    <a:pt x="293" y="366"/>
                  </a:lnTo>
                  <a:lnTo>
                    <a:pt x="290" y="365"/>
                  </a:lnTo>
                  <a:lnTo>
                    <a:pt x="283" y="361"/>
                  </a:lnTo>
                  <a:lnTo>
                    <a:pt x="275" y="353"/>
                  </a:lnTo>
                  <a:lnTo>
                    <a:pt x="265" y="342"/>
                  </a:lnTo>
                  <a:lnTo>
                    <a:pt x="261" y="335"/>
                  </a:lnTo>
                  <a:lnTo>
                    <a:pt x="255" y="327"/>
                  </a:lnTo>
                  <a:lnTo>
                    <a:pt x="251" y="319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1" y="287"/>
                  </a:lnTo>
                  <a:lnTo>
                    <a:pt x="239" y="273"/>
                  </a:lnTo>
                  <a:lnTo>
                    <a:pt x="239" y="259"/>
                  </a:lnTo>
                  <a:lnTo>
                    <a:pt x="239" y="256"/>
                  </a:lnTo>
                  <a:lnTo>
                    <a:pt x="238" y="253"/>
                  </a:lnTo>
                  <a:lnTo>
                    <a:pt x="236" y="250"/>
                  </a:lnTo>
                  <a:lnTo>
                    <a:pt x="235" y="248"/>
                  </a:lnTo>
                  <a:lnTo>
                    <a:pt x="233" y="246"/>
                  </a:lnTo>
                  <a:lnTo>
                    <a:pt x="230" y="245"/>
                  </a:lnTo>
                  <a:lnTo>
                    <a:pt x="227" y="244"/>
                  </a:lnTo>
                  <a:lnTo>
                    <a:pt x="224" y="244"/>
                  </a:lnTo>
                  <a:lnTo>
                    <a:pt x="222" y="243"/>
                  </a:lnTo>
                  <a:lnTo>
                    <a:pt x="220" y="237"/>
                  </a:lnTo>
                  <a:lnTo>
                    <a:pt x="218" y="231"/>
                  </a:lnTo>
                  <a:lnTo>
                    <a:pt x="217" y="221"/>
                  </a:lnTo>
                  <a:lnTo>
                    <a:pt x="217" y="216"/>
                  </a:lnTo>
                  <a:lnTo>
                    <a:pt x="218" y="210"/>
                  </a:lnTo>
                  <a:lnTo>
                    <a:pt x="219" y="206"/>
                  </a:lnTo>
                  <a:lnTo>
                    <a:pt x="221" y="202"/>
                  </a:lnTo>
                  <a:lnTo>
                    <a:pt x="222" y="200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30" y="197"/>
                  </a:lnTo>
                  <a:lnTo>
                    <a:pt x="233" y="195"/>
                  </a:lnTo>
                  <a:lnTo>
                    <a:pt x="235" y="193"/>
                  </a:lnTo>
                  <a:lnTo>
                    <a:pt x="236" y="191"/>
                  </a:lnTo>
                  <a:lnTo>
                    <a:pt x="238" y="189"/>
                  </a:lnTo>
                  <a:lnTo>
                    <a:pt x="239" y="186"/>
                  </a:lnTo>
                  <a:lnTo>
                    <a:pt x="239" y="183"/>
                  </a:lnTo>
                  <a:lnTo>
                    <a:pt x="238" y="176"/>
                  </a:lnTo>
                  <a:lnTo>
                    <a:pt x="235" y="164"/>
                  </a:lnTo>
                  <a:lnTo>
                    <a:pt x="231" y="147"/>
                  </a:lnTo>
                  <a:lnTo>
                    <a:pt x="225" y="126"/>
                  </a:lnTo>
                  <a:lnTo>
                    <a:pt x="224" y="114"/>
                  </a:lnTo>
                  <a:lnTo>
                    <a:pt x="224" y="104"/>
                  </a:lnTo>
                  <a:lnTo>
                    <a:pt x="224" y="100"/>
                  </a:lnTo>
                  <a:lnTo>
                    <a:pt x="225" y="96"/>
                  </a:lnTo>
                  <a:lnTo>
                    <a:pt x="227" y="91"/>
                  </a:lnTo>
                  <a:lnTo>
                    <a:pt x="229" y="88"/>
                  </a:lnTo>
                  <a:lnTo>
                    <a:pt x="231" y="87"/>
                  </a:lnTo>
                  <a:lnTo>
                    <a:pt x="233" y="85"/>
                  </a:lnTo>
                  <a:lnTo>
                    <a:pt x="238" y="83"/>
                  </a:lnTo>
                  <a:lnTo>
                    <a:pt x="246" y="83"/>
                  </a:lnTo>
                  <a:lnTo>
                    <a:pt x="252" y="83"/>
                  </a:lnTo>
                  <a:lnTo>
                    <a:pt x="259" y="84"/>
                  </a:lnTo>
                  <a:lnTo>
                    <a:pt x="265" y="84"/>
                  </a:lnTo>
                  <a:lnTo>
                    <a:pt x="270" y="82"/>
                  </a:lnTo>
                  <a:lnTo>
                    <a:pt x="273" y="81"/>
                  </a:lnTo>
                  <a:lnTo>
                    <a:pt x="275" y="79"/>
                  </a:lnTo>
                  <a:lnTo>
                    <a:pt x="276" y="75"/>
                  </a:lnTo>
                  <a:lnTo>
                    <a:pt x="277" y="73"/>
                  </a:lnTo>
                  <a:lnTo>
                    <a:pt x="278" y="68"/>
                  </a:lnTo>
                  <a:lnTo>
                    <a:pt x="281" y="64"/>
                  </a:lnTo>
                  <a:lnTo>
                    <a:pt x="284" y="59"/>
                  </a:lnTo>
                  <a:lnTo>
                    <a:pt x="289" y="56"/>
                  </a:lnTo>
                  <a:lnTo>
                    <a:pt x="293" y="52"/>
                  </a:lnTo>
                  <a:lnTo>
                    <a:pt x="298" y="49"/>
                  </a:lnTo>
                  <a:lnTo>
                    <a:pt x="305" y="45"/>
                  </a:lnTo>
                  <a:lnTo>
                    <a:pt x="312" y="42"/>
                  </a:lnTo>
                  <a:lnTo>
                    <a:pt x="327" y="37"/>
                  </a:lnTo>
                  <a:lnTo>
                    <a:pt x="345" y="34"/>
                  </a:lnTo>
                  <a:lnTo>
                    <a:pt x="365" y="30"/>
                  </a:lnTo>
                  <a:lnTo>
                    <a:pt x="385" y="30"/>
                  </a:lnTo>
                  <a:lnTo>
                    <a:pt x="407" y="30"/>
                  </a:lnTo>
                  <a:lnTo>
                    <a:pt x="426" y="34"/>
                  </a:lnTo>
                  <a:lnTo>
                    <a:pt x="443" y="37"/>
                  </a:lnTo>
                  <a:lnTo>
                    <a:pt x="459" y="42"/>
                  </a:lnTo>
                  <a:lnTo>
                    <a:pt x="466" y="45"/>
                  </a:lnTo>
                  <a:lnTo>
                    <a:pt x="472" y="49"/>
                  </a:lnTo>
                  <a:lnTo>
                    <a:pt x="477" y="52"/>
                  </a:lnTo>
                  <a:lnTo>
                    <a:pt x="483" y="56"/>
                  </a:lnTo>
                  <a:lnTo>
                    <a:pt x="487" y="59"/>
                  </a:lnTo>
                  <a:lnTo>
                    <a:pt x="490" y="64"/>
                  </a:lnTo>
                  <a:lnTo>
                    <a:pt x="492" y="68"/>
                  </a:lnTo>
                  <a:lnTo>
                    <a:pt x="494" y="73"/>
                  </a:lnTo>
                  <a:lnTo>
                    <a:pt x="496" y="85"/>
                  </a:lnTo>
                  <a:lnTo>
                    <a:pt x="497" y="98"/>
                  </a:lnTo>
                  <a:lnTo>
                    <a:pt x="496" y="111"/>
                  </a:lnTo>
                  <a:lnTo>
                    <a:pt x="493" y="123"/>
                  </a:lnTo>
                  <a:lnTo>
                    <a:pt x="487" y="145"/>
                  </a:lnTo>
                  <a:lnTo>
                    <a:pt x="481" y="163"/>
                  </a:lnTo>
                  <a:lnTo>
                    <a:pt x="476" y="175"/>
                  </a:lnTo>
                  <a:lnTo>
                    <a:pt x="474" y="183"/>
                  </a:lnTo>
                  <a:lnTo>
                    <a:pt x="475" y="186"/>
                  </a:lnTo>
                  <a:lnTo>
                    <a:pt x="476" y="189"/>
                  </a:lnTo>
                  <a:lnTo>
                    <a:pt x="477" y="191"/>
                  </a:lnTo>
                  <a:lnTo>
                    <a:pt x="479" y="193"/>
                  </a:lnTo>
                  <a:lnTo>
                    <a:pt x="482" y="195"/>
                  </a:lnTo>
                  <a:lnTo>
                    <a:pt x="484" y="197"/>
                  </a:lnTo>
                  <a:lnTo>
                    <a:pt x="487" y="198"/>
                  </a:lnTo>
                  <a:lnTo>
                    <a:pt x="489" y="198"/>
                  </a:lnTo>
                  <a:lnTo>
                    <a:pt x="491" y="200"/>
                  </a:lnTo>
                  <a:lnTo>
                    <a:pt x="493" y="204"/>
                  </a:lnTo>
                  <a:lnTo>
                    <a:pt x="496" y="210"/>
                  </a:lnTo>
                  <a:lnTo>
                    <a:pt x="497" y="221"/>
                  </a:lnTo>
                  <a:lnTo>
                    <a:pt x="496" y="231"/>
                  </a:lnTo>
                  <a:lnTo>
                    <a:pt x="493" y="238"/>
                  </a:lnTo>
                  <a:lnTo>
                    <a:pt x="491" y="243"/>
                  </a:lnTo>
                  <a:lnTo>
                    <a:pt x="489" y="244"/>
                  </a:lnTo>
                  <a:lnTo>
                    <a:pt x="487" y="244"/>
                  </a:lnTo>
                  <a:lnTo>
                    <a:pt x="484" y="245"/>
                  </a:lnTo>
                  <a:lnTo>
                    <a:pt x="482" y="246"/>
                  </a:lnTo>
                  <a:lnTo>
                    <a:pt x="479" y="248"/>
                  </a:lnTo>
                  <a:lnTo>
                    <a:pt x="477" y="250"/>
                  </a:lnTo>
                  <a:lnTo>
                    <a:pt x="476" y="253"/>
                  </a:lnTo>
                  <a:lnTo>
                    <a:pt x="475" y="256"/>
                  </a:lnTo>
                  <a:lnTo>
                    <a:pt x="474" y="259"/>
                  </a:lnTo>
                  <a:lnTo>
                    <a:pt x="474" y="273"/>
                  </a:lnTo>
                  <a:lnTo>
                    <a:pt x="473" y="287"/>
                  </a:lnTo>
                  <a:lnTo>
                    <a:pt x="471" y="298"/>
                  </a:lnTo>
                  <a:lnTo>
                    <a:pt x="468" y="309"/>
                  </a:lnTo>
                  <a:lnTo>
                    <a:pt x="464" y="319"/>
                  </a:lnTo>
                  <a:lnTo>
                    <a:pt x="460" y="327"/>
                  </a:lnTo>
                  <a:lnTo>
                    <a:pt x="457" y="336"/>
                  </a:lnTo>
                  <a:lnTo>
                    <a:pt x="453" y="342"/>
                  </a:lnTo>
                  <a:lnTo>
                    <a:pt x="444" y="353"/>
                  </a:lnTo>
                  <a:lnTo>
                    <a:pt x="437" y="361"/>
                  </a:lnTo>
                  <a:lnTo>
                    <a:pt x="431" y="365"/>
                  </a:lnTo>
                  <a:lnTo>
                    <a:pt x="429" y="367"/>
                  </a:lnTo>
                  <a:lnTo>
                    <a:pt x="426" y="369"/>
                  </a:lnTo>
                  <a:lnTo>
                    <a:pt x="424" y="372"/>
                  </a:lnTo>
                  <a:lnTo>
                    <a:pt x="423" y="376"/>
                  </a:lnTo>
                  <a:lnTo>
                    <a:pt x="422" y="380"/>
                  </a:lnTo>
                  <a:lnTo>
                    <a:pt x="422" y="470"/>
                  </a:lnTo>
                  <a:lnTo>
                    <a:pt x="423" y="474"/>
                  </a:lnTo>
                  <a:lnTo>
                    <a:pt x="425" y="479"/>
                  </a:lnTo>
                  <a:lnTo>
                    <a:pt x="427" y="482"/>
                  </a:lnTo>
                  <a:lnTo>
                    <a:pt x="431" y="484"/>
                  </a:lnTo>
                  <a:lnTo>
                    <a:pt x="449" y="490"/>
                  </a:lnTo>
                  <a:lnTo>
                    <a:pt x="467" y="497"/>
                  </a:lnTo>
                  <a:lnTo>
                    <a:pt x="485" y="503"/>
                  </a:lnTo>
                  <a:lnTo>
                    <a:pt x="502" y="510"/>
                  </a:lnTo>
                  <a:lnTo>
                    <a:pt x="531" y="520"/>
                  </a:lnTo>
                  <a:lnTo>
                    <a:pt x="559" y="530"/>
                  </a:lnTo>
                  <a:lnTo>
                    <a:pt x="586" y="541"/>
                  </a:lnTo>
                  <a:lnTo>
                    <a:pt x="609" y="551"/>
                  </a:lnTo>
                  <a:lnTo>
                    <a:pt x="631" y="562"/>
                  </a:lnTo>
                  <a:lnTo>
                    <a:pt x="647" y="573"/>
                  </a:lnTo>
                  <a:lnTo>
                    <a:pt x="654" y="578"/>
                  </a:lnTo>
                  <a:lnTo>
                    <a:pt x="660" y="584"/>
                  </a:lnTo>
                  <a:lnTo>
                    <a:pt x="663" y="589"/>
                  </a:lnTo>
                  <a:lnTo>
                    <a:pt x="666" y="595"/>
                  </a:lnTo>
                  <a:lnTo>
                    <a:pt x="670" y="613"/>
                  </a:lnTo>
                  <a:lnTo>
                    <a:pt x="675" y="632"/>
                  </a:lnTo>
                  <a:lnTo>
                    <a:pt x="677" y="654"/>
                  </a:lnTo>
                  <a:lnTo>
                    <a:pt x="679" y="678"/>
                  </a:lnTo>
                  <a:lnTo>
                    <a:pt x="681" y="700"/>
                  </a:lnTo>
                  <a:lnTo>
                    <a:pt x="682" y="722"/>
                  </a:lnTo>
                  <a:lnTo>
                    <a:pt x="682" y="740"/>
                  </a:lnTo>
                  <a:lnTo>
                    <a:pt x="683" y="756"/>
                  </a:lnTo>
                  <a:lnTo>
                    <a:pt x="30" y="756"/>
                  </a:lnTo>
                  <a:close/>
                  <a:moveTo>
                    <a:pt x="512" y="482"/>
                  </a:moveTo>
                  <a:lnTo>
                    <a:pt x="497" y="476"/>
                  </a:lnTo>
                  <a:lnTo>
                    <a:pt x="482" y="471"/>
                  </a:lnTo>
                  <a:lnTo>
                    <a:pt x="467" y="466"/>
                  </a:lnTo>
                  <a:lnTo>
                    <a:pt x="452" y="459"/>
                  </a:lnTo>
                  <a:lnTo>
                    <a:pt x="452" y="387"/>
                  </a:lnTo>
                  <a:lnTo>
                    <a:pt x="458" y="382"/>
                  </a:lnTo>
                  <a:lnTo>
                    <a:pt x="466" y="373"/>
                  </a:lnTo>
                  <a:lnTo>
                    <a:pt x="474" y="364"/>
                  </a:lnTo>
                  <a:lnTo>
                    <a:pt x="483" y="351"/>
                  </a:lnTo>
                  <a:lnTo>
                    <a:pt x="487" y="343"/>
                  </a:lnTo>
                  <a:lnTo>
                    <a:pt x="490" y="335"/>
                  </a:lnTo>
                  <a:lnTo>
                    <a:pt x="493" y="326"/>
                  </a:lnTo>
                  <a:lnTo>
                    <a:pt x="497" y="317"/>
                  </a:lnTo>
                  <a:lnTo>
                    <a:pt x="500" y="306"/>
                  </a:lnTo>
                  <a:lnTo>
                    <a:pt x="502" y="295"/>
                  </a:lnTo>
                  <a:lnTo>
                    <a:pt x="503" y="283"/>
                  </a:lnTo>
                  <a:lnTo>
                    <a:pt x="504" y="271"/>
                  </a:lnTo>
                  <a:lnTo>
                    <a:pt x="508" y="267"/>
                  </a:lnTo>
                  <a:lnTo>
                    <a:pt x="513" y="264"/>
                  </a:lnTo>
                  <a:lnTo>
                    <a:pt x="517" y="259"/>
                  </a:lnTo>
                  <a:lnTo>
                    <a:pt x="519" y="254"/>
                  </a:lnTo>
                  <a:lnTo>
                    <a:pt x="522" y="247"/>
                  </a:lnTo>
                  <a:lnTo>
                    <a:pt x="524" y="238"/>
                  </a:lnTo>
                  <a:lnTo>
                    <a:pt x="527" y="230"/>
                  </a:lnTo>
                  <a:lnTo>
                    <a:pt x="527" y="221"/>
                  </a:lnTo>
                  <a:lnTo>
                    <a:pt x="527" y="213"/>
                  </a:lnTo>
                  <a:lnTo>
                    <a:pt x="526" y="206"/>
                  </a:lnTo>
                  <a:lnTo>
                    <a:pt x="524" y="199"/>
                  </a:lnTo>
                  <a:lnTo>
                    <a:pt x="522" y="193"/>
                  </a:lnTo>
                  <a:lnTo>
                    <a:pt x="519" y="187"/>
                  </a:lnTo>
                  <a:lnTo>
                    <a:pt x="516" y="183"/>
                  </a:lnTo>
                  <a:lnTo>
                    <a:pt x="513" y="177"/>
                  </a:lnTo>
                  <a:lnTo>
                    <a:pt x="508" y="174"/>
                  </a:lnTo>
                  <a:lnTo>
                    <a:pt x="516" y="154"/>
                  </a:lnTo>
                  <a:lnTo>
                    <a:pt x="523" y="127"/>
                  </a:lnTo>
                  <a:lnTo>
                    <a:pt x="526" y="113"/>
                  </a:lnTo>
                  <a:lnTo>
                    <a:pt x="527" y="97"/>
                  </a:lnTo>
                  <a:lnTo>
                    <a:pt x="526" y="82"/>
                  </a:lnTo>
                  <a:lnTo>
                    <a:pt x="523" y="66"/>
                  </a:lnTo>
                  <a:lnTo>
                    <a:pt x="520" y="57"/>
                  </a:lnTo>
                  <a:lnTo>
                    <a:pt x="516" y="49"/>
                  </a:lnTo>
                  <a:lnTo>
                    <a:pt x="511" y="41"/>
                  </a:lnTo>
                  <a:lnTo>
                    <a:pt x="504" y="35"/>
                  </a:lnTo>
                  <a:lnTo>
                    <a:pt x="497" y="29"/>
                  </a:lnTo>
                  <a:lnTo>
                    <a:pt x="489" y="24"/>
                  </a:lnTo>
                  <a:lnTo>
                    <a:pt x="481" y="19"/>
                  </a:lnTo>
                  <a:lnTo>
                    <a:pt x="471" y="14"/>
                  </a:lnTo>
                  <a:lnTo>
                    <a:pt x="461" y="11"/>
                  </a:lnTo>
                  <a:lnTo>
                    <a:pt x="450" y="8"/>
                  </a:lnTo>
                  <a:lnTo>
                    <a:pt x="440" y="6"/>
                  </a:lnTo>
                  <a:lnTo>
                    <a:pt x="429" y="4"/>
                  </a:lnTo>
                  <a:lnTo>
                    <a:pt x="407" y="0"/>
                  </a:lnTo>
                  <a:lnTo>
                    <a:pt x="385" y="0"/>
                  </a:lnTo>
                  <a:lnTo>
                    <a:pt x="366" y="0"/>
                  </a:lnTo>
                  <a:lnTo>
                    <a:pt x="345" y="3"/>
                  </a:lnTo>
                  <a:lnTo>
                    <a:pt x="326" y="7"/>
                  </a:lnTo>
                  <a:lnTo>
                    <a:pt x="308" y="12"/>
                  </a:lnTo>
                  <a:lnTo>
                    <a:pt x="298" y="15"/>
                  </a:lnTo>
                  <a:lnTo>
                    <a:pt x="290" y="19"/>
                  </a:lnTo>
                  <a:lnTo>
                    <a:pt x="282" y="23"/>
                  </a:lnTo>
                  <a:lnTo>
                    <a:pt x="275" y="28"/>
                  </a:lnTo>
                  <a:lnTo>
                    <a:pt x="268" y="34"/>
                  </a:lnTo>
                  <a:lnTo>
                    <a:pt x="262" y="39"/>
                  </a:lnTo>
                  <a:lnTo>
                    <a:pt x="256" y="45"/>
                  </a:lnTo>
                  <a:lnTo>
                    <a:pt x="252" y="53"/>
                  </a:lnTo>
                  <a:lnTo>
                    <a:pt x="244" y="53"/>
                  </a:lnTo>
                  <a:lnTo>
                    <a:pt x="235" y="53"/>
                  </a:lnTo>
                  <a:lnTo>
                    <a:pt x="227" y="55"/>
                  </a:lnTo>
                  <a:lnTo>
                    <a:pt x="221" y="57"/>
                  </a:lnTo>
                  <a:lnTo>
                    <a:pt x="216" y="60"/>
                  </a:lnTo>
                  <a:lnTo>
                    <a:pt x="211" y="64"/>
                  </a:lnTo>
                  <a:lnTo>
                    <a:pt x="208" y="67"/>
                  </a:lnTo>
                  <a:lnTo>
                    <a:pt x="205" y="70"/>
                  </a:lnTo>
                  <a:lnTo>
                    <a:pt x="202" y="75"/>
                  </a:lnTo>
                  <a:lnTo>
                    <a:pt x="199" y="82"/>
                  </a:lnTo>
                  <a:lnTo>
                    <a:pt x="196" y="87"/>
                  </a:lnTo>
                  <a:lnTo>
                    <a:pt x="195" y="95"/>
                  </a:lnTo>
                  <a:lnTo>
                    <a:pt x="194" y="108"/>
                  </a:lnTo>
                  <a:lnTo>
                    <a:pt x="195" y="122"/>
                  </a:lnTo>
                  <a:lnTo>
                    <a:pt x="197" y="137"/>
                  </a:lnTo>
                  <a:lnTo>
                    <a:pt x="200" y="149"/>
                  </a:lnTo>
                  <a:lnTo>
                    <a:pt x="203" y="162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4"/>
                  </a:lnTo>
                  <a:lnTo>
                    <a:pt x="202" y="177"/>
                  </a:lnTo>
                  <a:lnTo>
                    <a:pt x="199" y="182"/>
                  </a:lnTo>
                  <a:lnTo>
                    <a:pt x="195" y="187"/>
                  </a:lnTo>
                  <a:lnTo>
                    <a:pt x="192" y="192"/>
                  </a:lnTo>
                  <a:lnTo>
                    <a:pt x="190" y="199"/>
                  </a:lnTo>
                  <a:lnTo>
                    <a:pt x="188" y="205"/>
                  </a:lnTo>
                  <a:lnTo>
                    <a:pt x="187" y="213"/>
                  </a:lnTo>
                  <a:lnTo>
                    <a:pt x="187" y="221"/>
                  </a:lnTo>
                  <a:lnTo>
                    <a:pt x="187" y="230"/>
                  </a:lnTo>
                  <a:lnTo>
                    <a:pt x="189" y="237"/>
                  </a:lnTo>
                  <a:lnTo>
                    <a:pt x="190" y="245"/>
                  </a:lnTo>
                  <a:lnTo>
                    <a:pt x="193" y="251"/>
                  </a:lnTo>
                  <a:lnTo>
                    <a:pt x="196" y="258"/>
                  </a:lnTo>
                  <a:lnTo>
                    <a:pt x="200" y="263"/>
                  </a:lnTo>
                  <a:lnTo>
                    <a:pt x="205" y="267"/>
                  </a:lnTo>
                  <a:lnTo>
                    <a:pt x="209" y="271"/>
                  </a:lnTo>
                  <a:lnTo>
                    <a:pt x="210" y="283"/>
                  </a:lnTo>
                  <a:lnTo>
                    <a:pt x="212" y="295"/>
                  </a:lnTo>
                  <a:lnTo>
                    <a:pt x="215" y="307"/>
                  </a:lnTo>
                  <a:lnTo>
                    <a:pt x="218" y="317"/>
                  </a:lnTo>
                  <a:lnTo>
                    <a:pt x="222" y="326"/>
                  </a:lnTo>
                  <a:lnTo>
                    <a:pt x="226" y="336"/>
                  </a:lnTo>
                  <a:lnTo>
                    <a:pt x="231" y="343"/>
                  </a:lnTo>
                  <a:lnTo>
                    <a:pt x="235" y="351"/>
                  </a:lnTo>
                  <a:lnTo>
                    <a:pt x="245" y="365"/>
                  </a:lnTo>
                  <a:lnTo>
                    <a:pt x="254" y="375"/>
                  </a:lnTo>
                  <a:lnTo>
                    <a:pt x="264" y="383"/>
                  </a:lnTo>
                  <a:lnTo>
                    <a:pt x="271" y="388"/>
                  </a:lnTo>
                  <a:lnTo>
                    <a:pt x="271" y="459"/>
                  </a:lnTo>
                  <a:lnTo>
                    <a:pt x="255" y="466"/>
                  </a:lnTo>
                  <a:lnTo>
                    <a:pt x="239" y="471"/>
                  </a:lnTo>
                  <a:lnTo>
                    <a:pt x="222" y="477"/>
                  </a:lnTo>
                  <a:lnTo>
                    <a:pt x="206" y="483"/>
                  </a:lnTo>
                  <a:lnTo>
                    <a:pt x="173" y="495"/>
                  </a:lnTo>
                  <a:lnTo>
                    <a:pt x="140" y="506"/>
                  </a:lnTo>
                  <a:lnTo>
                    <a:pt x="111" y="518"/>
                  </a:lnTo>
                  <a:lnTo>
                    <a:pt x="84" y="530"/>
                  </a:lnTo>
                  <a:lnTo>
                    <a:pt x="71" y="536"/>
                  </a:lnTo>
                  <a:lnTo>
                    <a:pt x="60" y="542"/>
                  </a:lnTo>
                  <a:lnTo>
                    <a:pt x="51" y="549"/>
                  </a:lnTo>
                  <a:lnTo>
                    <a:pt x="42" y="556"/>
                  </a:lnTo>
                  <a:lnTo>
                    <a:pt x="33" y="562"/>
                  </a:lnTo>
                  <a:lnTo>
                    <a:pt x="28" y="570"/>
                  </a:lnTo>
                  <a:lnTo>
                    <a:pt x="23" y="577"/>
                  </a:lnTo>
                  <a:lnTo>
                    <a:pt x="19" y="586"/>
                  </a:lnTo>
                  <a:lnTo>
                    <a:pt x="16" y="596"/>
                  </a:lnTo>
                  <a:lnTo>
                    <a:pt x="13" y="609"/>
                  </a:lnTo>
                  <a:lnTo>
                    <a:pt x="11" y="623"/>
                  </a:lnTo>
                  <a:lnTo>
                    <a:pt x="9" y="637"/>
                  </a:lnTo>
                  <a:lnTo>
                    <a:pt x="6" y="667"/>
                  </a:lnTo>
                  <a:lnTo>
                    <a:pt x="3" y="697"/>
                  </a:lnTo>
                  <a:lnTo>
                    <a:pt x="1" y="725"/>
                  </a:lnTo>
                  <a:lnTo>
                    <a:pt x="1" y="748"/>
                  </a:lnTo>
                  <a:lnTo>
                    <a:pt x="0" y="764"/>
                  </a:lnTo>
                  <a:lnTo>
                    <a:pt x="0" y="771"/>
                  </a:lnTo>
                  <a:lnTo>
                    <a:pt x="1" y="774"/>
                  </a:lnTo>
                  <a:lnTo>
                    <a:pt x="1" y="777"/>
                  </a:lnTo>
                  <a:lnTo>
                    <a:pt x="3" y="780"/>
                  </a:lnTo>
                  <a:lnTo>
                    <a:pt x="4" y="782"/>
                  </a:lnTo>
                  <a:lnTo>
                    <a:pt x="7" y="783"/>
                  </a:lnTo>
                  <a:lnTo>
                    <a:pt x="10" y="785"/>
                  </a:lnTo>
                  <a:lnTo>
                    <a:pt x="12" y="785"/>
                  </a:lnTo>
                  <a:lnTo>
                    <a:pt x="15" y="786"/>
                  </a:lnTo>
                  <a:lnTo>
                    <a:pt x="698" y="786"/>
                  </a:lnTo>
                  <a:lnTo>
                    <a:pt x="701" y="785"/>
                  </a:lnTo>
                  <a:lnTo>
                    <a:pt x="704" y="785"/>
                  </a:lnTo>
                  <a:lnTo>
                    <a:pt x="707" y="783"/>
                  </a:lnTo>
                  <a:lnTo>
                    <a:pt x="709" y="782"/>
                  </a:lnTo>
                  <a:lnTo>
                    <a:pt x="711" y="780"/>
                  </a:lnTo>
                  <a:lnTo>
                    <a:pt x="712" y="777"/>
                  </a:lnTo>
                  <a:lnTo>
                    <a:pt x="713" y="774"/>
                  </a:lnTo>
                  <a:lnTo>
                    <a:pt x="713" y="771"/>
                  </a:lnTo>
                  <a:lnTo>
                    <a:pt x="713" y="764"/>
                  </a:lnTo>
                  <a:lnTo>
                    <a:pt x="713" y="748"/>
                  </a:lnTo>
                  <a:lnTo>
                    <a:pt x="712" y="725"/>
                  </a:lnTo>
                  <a:lnTo>
                    <a:pt x="711" y="697"/>
                  </a:lnTo>
                  <a:lnTo>
                    <a:pt x="709" y="667"/>
                  </a:lnTo>
                  <a:lnTo>
                    <a:pt x="706" y="637"/>
                  </a:lnTo>
                  <a:lnTo>
                    <a:pt x="704" y="623"/>
                  </a:lnTo>
                  <a:lnTo>
                    <a:pt x="700" y="609"/>
                  </a:lnTo>
                  <a:lnTo>
                    <a:pt x="698" y="596"/>
                  </a:lnTo>
                  <a:lnTo>
                    <a:pt x="695" y="586"/>
                  </a:lnTo>
                  <a:lnTo>
                    <a:pt x="691" y="577"/>
                  </a:lnTo>
                  <a:lnTo>
                    <a:pt x="686" y="570"/>
                  </a:lnTo>
                  <a:lnTo>
                    <a:pt x="680" y="562"/>
                  </a:lnTo>
                  <a:lnTo>
                    <a:pt x="672" y="555"/>
                  </a:lnTo>
                  <a:lnTo>
                    <a:pt x="665" y="548"/>
                  </a:lnTo>
                  <a:lnTo>
                    <a:pt x="655" y="542"/>
                  </a:lnTo>
                  <a:lnTo>
                    <a:pt x="645" y="535"/>
                  </a:lnTo>
                  <a:lnTo>
                    <a:pt x="633" y="529"/>
                  </a:lnTo>
                  <a:lnTo>
                    <a:pt x="607" y="517"/>
                  </a:lnTo>
                  <a:lnTo>
                    <a:pt x="578" y="505"/>
                  </a:lnTo>
                  <a:lnTo>
                    <a:pt x="546" y="494"/>
                  </a:lnTo>
                  <a:lnTo>
                    <a:pt x="512" y="4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86" name="Freeform 84">
              <a:extLst>
                <a:ext uri="{FF2B5EF4-FFF2-40B4-BE49-F238E27FC236}">
                  <a16:creationId xmlns:a16="http://schemas.microsoft.com/office/drawing/2014/main" id="{E7B1DDE1-9983-8D02-FB49-09C9CF427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038" y="1954213"/>
              <a:ext cx="111125" cy="247650"/>
            </a:xfrm>
            <a:custGeom>
              <a:avLst/>
              <a:gdLst>
                <a:gd name="T0" fmla="*/ 315 w 353"/>
                <a:gd name="T1" fmla="*/ 553 h 782"/>
                <a:gd name="T2" fmla="*/ 265 w 353"/>
                <a:gd name="T3" fmla="*/ 517 h 782"/>
                <a:gd name="T4" fmla="*/ 129 w 353"/>
                <a:gd name="T5" fmla="*/ 458 h 782"/>
                <a:gd name="T6" fmla="*/ 90 w 353"/>
                <a:gd name="T7" fmla="*/ 394 h 782"/>
                <a:gd name="T8" fmla="*/ 124 w 353"/>
                <a:gd name="T9" fmla="*/ 358 h 782"/>
                <a:gd name="T10" fmla="*/ 139 w 353"/>
                <a:gd name="T11" fmla="*/ 321 h 782"/>
                <a:gd name="T12" fmla="*/ 148 w 353"/>
                <a:gd name="T13" fmla="*/ 283 h 782"/>
                <a:gd name="T14" fmla="*/ 162 w 353"/>
                <a:gd name="T15" fmla="*/ 261 h 782"/>
                <a:gd name="T16" fmla="*/ 166 w 353"/>
                <a:gd name="T17" fmla="*/ 228 h 782"/>
                <a:gd name="T18" fmla="*/ 159 w 353"/>
                <a:gd name="T19" fmla="*/ 202 h 782"/>
                <a:gd name="T20" fmla="*/ 148 w 353"/>
                <a:gd name="T21" fmla="*/ 188 h 782"/>
                <a:gd name="T22" fmla="*/ 165 w 353"/>
                <a:gd name="T23" fmla="*/ 122 h 782"/>
                <a:gd name="T24" fmla="*/ 159 w 353"/>
                <a:gd name="T25" fmla="*/ 64 h 782"/>
                <a:gd name="T26" fmla="*/ 129 w 353"/>
                <a:gd name="T27" fmla="*/ 26 h 782"/>
                <a:gd name="T28" fmla="*/ 83 w 353"/>
                <a:gd name="T29" fmla="*/ 3 h 782"/>
                <a:gd name="T30" fmla="*/ 38 w 353"/>
                <a:gd name="T31" fmla="*/ 2 h 782"/>
                <a:gd name="T32" fmla="*/ 5 w 353"/>
                <a:gd name="T33" fmla="*/ 17 h 782"/>
                <a:gd name="T34" fmla="*/ 0 w 353"/>
                <a:gd name="T35" fmla="*/ 27 h 782"/>
                <a:gd name="T36" fmla="*/ 5 w 353"/>
                <a:gd name="T37" fmla="*/ 38 h 782"/>
                <a:gd name="T38" fmla="*/ 15 w 353"/>
                <a:gd name="T39" fmla="*/ 42 h 782"/>
                <a:gd name="T40" fmla="*/ 32 w 353"/>
                <a:gd name="T41" fmla="*/ 35 h 782"/>
                <a:gd name="T42" fmla="*/ 65 w 353"/>
                <a:gd name="T43" fmla="*/ 30 h 782"/>
                <a:gd name="T44" fmla="*/ 93 w 353"/>
                <a:gd name="T45" fmla="*/ 39 h 782"/>
                <a:gd name="T46" fmla="*/ 124 w 353"/>
                <a:gd name="T47" fmla="*/ 64 h 782"/>
                <a:gd name="T48" fmla="*/ 135 w 353"/>
                <a:gd name="T49" fmla="*/ 94 h 782"/>
                <a:gd name="T50" fmla="*/ 127 w 353"/>
                <a:gd name="T51" fmla="*/ 158 h 782"/>
                <a:gd name="T52" fmla="*/ 115 w 353"/>
                <a:gd name="T53" fmla="*/ 201 h 782"/>
                <a:gd name="T54" fmla="*/ 120 w 353"/>
                <a:gd name="T55" fmla="*/ 211 h 782"/>
                <a:gd name="T56" fmla="*/ 131 w 353"/>
                <a:gd name="T57" fmla="*/ 214 h 782"/>
                <a:gd name="T58" fmla="*/ 136 w 353"/>
                <a:gd name="T59" fmla="*/ 241 h 782"/>
                <a:gd name="T60" fmla="*/ 131 w 353"/>
                <a:gd name="T61" fmla="*/ 258 h 782"/>
                <a:gd name="T62" fmla="*/ 120 w 353"/>
                <a:gd name="T63" fmla="*/ 261 h 782"/>
                <a:gd name="T64" fmla="*/ 115 w 353"/>
                <a:gd name="T65" fmla="*/ 271 h 782"/>
                <a:gd name="T66" fmla="*/ 110 w 353"/>
                <a:gd name="T67" fmla="*/ 313 h 782"/>
                <a:gd name="T68" fmla="*/ 93 w 353"/>
                <a:gd name="T69" fmla="*/ 348 h 782"/>
                <a:gd name="T70" fmla="*/ 65 w 353"/>
                <a:gd name="T71" fmla="*/ 376 h 782"/>
                <a:gd name="T72" fmla="*/ 53 w 353"/>
                <a:gd name="T73" fmla="*/ 387 h 782"/>
                <a:gd name="T74" fmla="*/ 55 w 353"/>
                <a:gd name="T75" fmla="*/ 460 h 782"/>
                <a:gd name="T76" fmla="*/ 112 w 353"/>
                <a:gd name="T77" fmla="*/ 484 h 782"/>
                <a:gd name="T78" fmla="*/ 239 w 353"/>
                <a:gd name="T79" fmla="*/ 538 h 782"/>
                <a:gd name="T80" fmla="*/ 289 w 353"/>
                <a:gd name="T81" fmla="*/ 569 h 782"/>
                <a:gd name="T82" fmla="*/ 310 w 353"/>
                <a:gd name="T83" fmla="*/ 609 h 782"/>
                <a:gd name="T84" fmla="*/ 321 w 353"/>
                <a:gd name="T85" fmla="*/ 696 h 782"/>
                <a:gd name="T86" fmla="*/ 262 w 353"/>
                <a:gd name="T87" fmla="*/ 752 h 782"/>
                <a:gd name="T88" fmla="*/ 251 w 353"/>
                <a:gd name="T89" fmla="*/ 756 h 782"/>
                <a:gd name="T90" fmla="*/ 247 w 353"/>
                <a:gd name="T91" fmla="*/ 767 h 782"/>
                <a:gd name="T92" fmla="*/ 251 w 353"/>
                <a:gd name="T93" fmla="*/ 778 h 782"/>
                <a:gd name="T94" fmla="*/ 262 w 353"/>
                <a:gd name="T95" fmla="*/ 782 h 782"/>
                <a:gd name="T96" fmla="*/ 347 w 353"/>
                <a:gd name="T97" fmla="*/ 779 h 782"/>
                <a:gd name="T98" fmla="*/ 353 w 353"/>
                <a:gd name="T99" fmla="*/ 770 h 782"/>
                <a:gd name="T100" fmla="*/ 352 w 353"/>
                <a:gd name="T101" fmla="*/ 721 h 782"/>
                <a:gd name="T102" fmla="*/ 342 w 353"/>
                <a:gd name="T103" fmla="*/ 61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82">
                  <a:moveTo>
                    <a:pt x="334" y="582"/>
                  </a:moveTo>
                  <a:lnTo>
                    <a:pt x="329" y="572"/>
                  </a:lnTo>
                  <a:lnTo>
                    <a:pt x="323" y="562"/>
                  </a:lnTo>
                  <a:lnTo>
                    <a:pt x="315" y="553"/>
                  </a:lnTo>
                  <a:lnTo>
                    <a:pt x="305" y="544"/>
                  </a:lnTo>
                  <a:lnTo>
                    <a:pt x="293" y="536"/>
                  </a:lnTo>
                  <a:lnTo>
                    <a:pt x="280" y="526"/>
                  </a:lnTo>
                  <a:lnTo>
                    <a:pt x="265" y="517"/>
                  </a:lnTo>
                  <a:lnTo>
                    <a:pt x="249" y="509"/>
                  </a:lnTo>
                  <a:lnTo>
                    <a:pt x="214" y="493"/>
                  </a:lnTo>
                  <a:lnTo>
                    <a:pt x="173" y="476"/>
                  </a:lnTo>
                  <a:lnTo>
                    <a:pt x="129" y="458"/>
                  </a:lnTo>
                  <a:lnTo>
                    <a:pt x="83" y="441"/>
                  </a:lnTo>
                  <a:lnTo>
                    <a:pt x="82" y="440"/>
                  </a:lnTo>
                  <a:lnTo>
                    <a:pt x="82" y="399"/>
                  </a:lnTo>
                  <a:lnTo>
                    <a:pt x="90" y="394"/>
                  </a:lnTo>
                  <a:lnTo>
                    <a:pt x="99" y="387"/>
                  </a:lnTo>
                  <a:lnTo>
                    <a:pt x="109" y="377"/>
                  </a:lnTo>
                  <a:lnTo>
                    <a:pt x="118" y="364"/>
                  </a:lnTo>
                  <a:lnTo>
                    <a:pt x="124" y="358"/>
                  </a:lnTo>
                  <a:lnTo>
                    <a:pt x="128" y="349"/>
                  </a:lnTo>
                  <a:lnTo>
                    <a:pt x="132" y="341"/>
                  </a:lnTo>
                  <a:lnTo>
                    <a:pt x="135" y="331"/>
                  </a:lnTo>
                  <a:lnTo>
                    <a:pt x="139" y="321"/>
                  </a:lnTo>
                  <a:lnTo>
                    <a:pt x="141" y="309"/>
                  </a:lnTo>
                  <a:lnTo>
                    <a:pt x="143" y="298"/>
                  </a:lnTo>
                  <a:lnTo>
                    <a:pt x="144" y="285"/>
                  </a:lnTo>
                  <a:lnTo>
                    <a:pt x="148" y="283"/>
                  </a:lnTo>
                  <a:lnTo>
                    <a:pt x="152" y="278"/>
                  </a:lnTo>
                  <a:lnTo>
                    <a:pt x="156" y="274"/>
                  </a:lnTo>
                  <a:lnTo>
                    <a:pt x="159" y="269"/>
                  </a:lnTo>
                  <a:lnTo>
                    <a:pt x="162" y="261"/>
                  </a:lnTo>
                  <a:lnTo>
                    <a:pt x="164" y="254"/>
                  </a:lnTo>
                  <a:lnTo>
                    <a:pt x="166" y="245"/>
                  </a:lnTo>
                  <a:lnTo>
                    <a:pt x="166" y="235"/>
                  </a:lnTo>
                  <a:lnTo>
                    <a:pt x="166" y="228"/>
                  </a:lnTo>
                  <a:lnTo>
                    <a:pt x="165" y="220"/>
                  </a:lnTo>
                  <a:lnTo>
                    <a:pt x="163" y="214"/>
                  </a:lnTo>
                  <a:lnTo>
                    <a:pt x="161" y="208"/>
                  </a:lnTo>
                  <a:lnTo>
                    <a:pt x="159" y="202"/>
                  </a:lnTo>
                  <a:lnTo>
                    <a:pt x="156" y="197"/>
                  </a:lnTo>
                  <a:lnTo>
                    <a:pt x="151" y="193"/>
                  </a:lnTo>
                  <a:lnTo>
                    <a:pt x="147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56" y="166"/>
                  </a:lnTo>
                  <a:lnTo>
                    <a:pt x="162" y="137"/>
                  </a:lnTo>
                  <a:lnTo>
                    <a:pt x="165" y="122"/>
                  </a:lnTo>
                  <a:lnTo>
                    <a:pt x="166" y="106"/>
                  </a:lnTo>
                  <a:lnTo>
                    <a:pt x="165" y="90"/>
                  </a:lnTo>
                  <a:lnTo>
                    <a:pt x="163" y="74"/>
                  </a:lnTo>
                  <a:lnTo>
                    <a:pt x="159" y="64"/>
                  </a:lnTo>
                  <a:lnTo>
                    <a:pt x="154" y="54"/>
                  </a:lnTo>
                  <a:lnTo>
                    <a:pt x="147" y="45"/>
                  </a:lnTo>
                  <a:lnTo>
                    <a:pt x="139" y="35"/>
                  </a:lnTo>
                  <a:lnTo>
                    <a:pt x="129" y="26"/>
                  </a:lnTo>
                  <a:lnTo>
                    <a:pt x="118" y="19"/>
                  </a:lnTo>
                  <a:lnTo>
                    <a:pt x="106" y="12"/>
                  </a:lnTo>
                  <a:lnTo>
                    <a:pt x="95" y="6"/>
                  </a:lnTo>
                  <a:lnTo>
                    <a:pt x="83" y="3"/>
                  </a:lnTo>
                  <a:lnTo>
                    <a:pt x="72" y="1"/>
                  </a:lnTo>
                  <a:lnTo>
                    <a:pt x="60" y="0"/>
                  </a:lnTo>
                  <a:lnTo>
                    <a:pt x="50" y="0"/>
                  </a:lnTo>
                  <a:lnTo>
                    <a:pt x="38" y="2"/>
                  </a:lnTo>
                  <a:lnTo>
                    <a:pt x="27" y="5"/>
                  </a:lnTo>
                  <a:lnTo>
                    <a:pt x="17" y="9"/>
                  </a:lnTo>
                  <a:lnTo>
                    <a:pt x="7" y="15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1" y="22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6"/>
                  </a:lnTo>
                  <a:lnTo>
                    <a:pt x="5" y="38"/>
                  </a:lnTo>
                  <a:lnTo>
                    <a:pt x="7" y="40"/>
                  </a:lnTo>
                  <a:lnTo>
                    <a:pt x="10" y="41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1" y="41"/>
                  </a:lnTo>
                  <a:lnTo>
                    <a:pt x="24" y="40"/>
                  </a:lnTo>
                  <a:lnTo>
                    <a:pt x="32" y="35"/>
                  </a:lnTo>
                  <a:lnTo>
                    <a:pt x="41" y="32"/>
                  </a:lnTo>
                  <a:lnTo>
                    <a:pt x="48" y="31"/>
                  </a:lnTo>
                  <a:lnTo>
                    <a:pt x="57" y="30"/>
                  </a:lnTo>
                  <a:lnTo>
                    <a:pt x="65" y="30"/>
                  </a:lnTo>
                  <a:lnTo>
                    <a:pt x="71" y="31"/>
                  </a:lnTo>
                  <a:lnTo>
                    <a:pt x="77" y="33"/>
                  </a:lnTo>
                  <a:lnTo>
                    <a:pt x="84" y="35"/>
                  </a:lnTo>
                  <a:lnTo>
                    <a:pt x="93" y="39"/>
                  </a:lnTo>
                  <a:lnTo>
                    <a:pt x="103" y="45"/>
                  </a:lnTo>
                  <a:lnTo>
                    <a:pt x="111" y="51"/>
                  </a:lnTo>
                  <a:lnTo>
                    <a:pt x="118" y="57"/>
                  </a:lnTo>
                  <a:lnTo>
                    <a:pt x="124" y="64"/>
                  </a:lnTo>
                  <a:lnTo>
                    <a:pt x="129" y="70"/>
                  </a:lnTo>
                  <a:lnTo>
                    <a:pt x="132" y="76"/>
                  </a:lnTo>
                  <a:lnTo>
                    <a:pt x="133" y="81"/>
                  </a:lnTo>
                  <a:lnTo>
                    <a:pt x="135" y="94"/>
                  </a:lnTo>
                  <a:lnTo>
                    <a:pt x="136" y="107"/>
                  </a:lnTo>
                  <a:lnTo>
                    <a:pt x="135" y="121"/>
                  </a:lnTo>
                  <a:lnTo>
                    <a:pt x="133" y="134"/>
                  </a:lnTo>
                  <a:lnTo>
                    <a:pt x="127" y="158"/>
                  </a:lnTo>
                  <a:lnTo>
                    <a:pt x="119" y="178"/>
                  </a:lnTo>
                  <a:lnTo>
                    <a:pt x="116" y="190"/>
                  </a:lnTo>
                  <a:lnTo>
                    <a:pt x="114" y="198"/>
                  </a:lnTo>
                  <a:lnTo>
                    <a:pt x="115" y="201"/>
                  </a:lnTo>
                  <a:lnTo>
                    <a:pt x="115" y="203"/>
                  </a:lnTo>
                  <a:lnTo>
                    <a:pt x="117" y="206"/>
                  </a:lnTo>
                  <a:lnTo>
                    <a:pt x="118" y="209"/>
                  </a:lnTo>
                  <a:lnTo>
                    <a:pt x="120" y="211"/>
                  </a:lnTo>
                  <a:lnTo>
                    <a:pt x="124" y="212"/>
                  </a:lnTo>
                  <a:lnTo>
                    <a:pt x="127" y="213"/>
                  </a:lnTo>
                  <a:lnTo>
                    <a:pt x="129" y="213"/>
                  </a:lnTo>
                  <a:lnTo>
                    <a:pt x="131" y="214"/>
                  </a:lnTo>
                  <a:lnTo>
                    <a:pt x="133" y="218"/>
                  </a:lnTo>
                  <a:lnTo>
                    <a:pt x="135" y="226"/>
                  </a:lnTo>
                  <a:lnTo>
                    <a:pt x="136" y="235"/>
                  </a:lnTo>
                  <a:lnTo>
                    <a:pt x="136" y="241"/>
                  </a:lnTo>
                  <a:lnTo>
                    <a:pt x="135" y="246"/>
                  </a:lnTo>
                  <a:lnTo>
                    <a:pt x="134" y="252"/>
                  </a:lnTo>
                  <a:lnTo>
                    <a:pt x="132" y="255"/>
                  </a:lnTo>
                  <a:lnTo>
                    <a:pt x="131" y="258"/>
                  </a:lnTo>
                  <a:lnTo>
                    <a:pt x="129" y="259"/>
                  </a:lnTo>
                  <a:lnTo>
                    <a:pt x="127" y="259"/>
                  </a:lnTo>
                  <a:lnTo>
                    <a:pt x="124" y="260"/>
                  </a:lnTo>
                  <a:lnTo>
                    <a:pt x="120" y="261"/>
                  </a:lnTo>
                  <a:lnTo>
                    <a:pt x="118" y="263"/>
                  </a:lnTo>
                  <a:lnTo>
                    <a:pt x="117" y="265"/>
                  </a:lnTo>
                  <a:lnTo>
                    <a:pt x="115" y="268"/>
                  </a:lnTo>
                  <a:lnTo>
                    <a:pt x="115" y="271"/>
                  </a:lnTo>
                  <a:lnTo>
                    <a:pt x="114" y="274"/>
                  </a:lnTo>
                  <a:lnTo>
                    <a:pt x="114" y="288"/>
                  </a:lnTo>
                  <a:lnTo>
                    <a:pt x="112" y="301"/>
                  </a:lnTo>
                  <a:lnTo>
                    <a:pt x="110" y="313"/>
                  </a:lnTo>
                  <a:lnTo>
                    <a:pt x="106" y="323"/>
                  </a:lnTo>
                  <a:lnTo>
                    <a:pt x="102" y="332"/>
                  </a:lnTo>
                  <a:lnTo>
                    <a:pt x="98" y="341"/>
                  </a:lnTo>
                  <a:lnTo>
                    <a:pt x="93" y="348"/>
                  </a:lnTo>
                  <a:lnTo>
                    <a:pt x="88" y="354"/>
                  </a:lnTo>
                  <a:lnTo>
                    <a:pt x="78" y="365"/>
                  </a:lnTo>
                  <a:lnTo>
                    <a:pt x="70" y="372"/>
                  </a:lnTo>
                  <a:lnTo>
                    <a:pt x="65" y="376"/>
                  </a:lnTo>
                  <a:lnTo>
                    <a:pt x="61" y="377"/>
                  </a:lnTo>
                  <a:lnTo>
                    <a:pt x="57" y="379"/>
                  </a:lnTo>
                  <a:lnTo>
                    <a:pt x="55" y="382"/>
                  </a:lnTo>
                  <a:lnTo>
                    <a:pt x="53" y="387"/>
                  </a:lnTo>
                  <a:lnTo>
                    <a:pt x="52" y="391"/>
                  </a:lnTo>
                  <a:lnTo>
                    <a:pt x="52" y="451"/>
                  </a:lnTo>
                  <a:lnTo>
                    <a:pt x="53" y="455"/>
                  </a:lnTo>
                  <a:lnTo>
                    <a:pt x="55" y="460"/>
                  </a:lnTo>
                  <a:lnTo>
                    <a:pt x="58" y="463"/>
                  </a:lnTo>
                  <a:lnTo>
                    <a:pt x="61" y="465"/>
                  </a:lnTo>
                  <a:lnTo>
                    <a:pt x="73" y="469"/>
                  </a:lnTo>
                  <a:lnTo>
                    <a:pt x="112" y="484"/>
                  </a:lnTo>
                  <a:lnTo>
                    <a:pt x="150" y="499"/>
                  </a:lnTo>
                  <a:lnTo>
                    <a:pt x="188" y="514"/>
                  </a:lnTo>
                  <a:lnTo>
                    <a:pt x="223" y="530"/>
                  </a:lnTo>
                  <a:lnTo>
                    <a:pt x="239" y="538"/>
                  </a:lnTo>
                  <a:lnTo>
                    <a:pt x="253" y="545"/>
                  </a:lnTo>
                  <a:lnTo>
                    <a:pt x="266" y="553"/>
                  </a:lnTo>
                  <a:lnTo>
                    <a:pt x="278" y="561"/>
                  </a:lnTo>
                  <a:lnTo>
                    <a:pt x="289" y="569"/>
                  </a:lnTo>
                  <a:lnTo>
                    <a:pt x="296" y="576"/>
                  </a:lnTo>
                  <a:lnTo>
                    <a:pt x="301" y="584"/>
                  </a:lnTo>
                  <a:lnTo>
                    <a:pt x="306" y="591"/>
                  </a:lnTo>
                  <a:lnTo>
                    <a:pt x="310" y="609"/>
                  </a:lnTo>
                  <a:lnTo>
                    <a:pt x="313" y="628"/>
                  </a:lnTo>
                  <a:lnTo>
                    <a:pt x="317" y="650"/>
                  </a:lnTo>
                  <a:lnTo>
                    <a:pt x="319" y="674"/>
                  </a:lnTo>
                  <a:lnTo>
                    <a:pt x="321" y="696"/>
                  </a:lnTo>
                  <a:lnTo>
                    <a:pt x="322" y="718"/>
                  </a:lnTo>
                  <a:lnTo>
                    <a:pt x="322" y="736"/>
                  </a:lnTo>
                  <a:lnTo>
                    <a:pt x="323" y="752"/>
                  </a:lnTo>
                  <a:lnTo>
                    <a:pt x="262" y="752"/>
                  </a:lnTo>
                  <a:lnTo>
                    <a:pt x="259" y="752"/>
                  </a:lnTo>
                  <a:lnTo>
                    <a:pt x="256" y="753"/>
                  </a:lnTo>
                  <a:lnTo>
                    <a:pt x="253" y="754"/>
                  </a:lnTo>
                  <a:lnTo>
                    <a:pt x="251" y="756"/>
                  </a:lnTo>
                  <a:lnTo>
                    <a:pt x="249" y="759"/>
                  </a:lnTo>
                  <a:lnTo>
                    <a:pt x="248" y="761"/>
                  </a:lnTo>
                  <a:lnTo>
                    <a:pt x="247" y="764"/>
                  </a:lnTo>
                  <a:lnTo>
                    <a:pt x="247" y="767"/>
                  </a:lnTo>
                  <a:lnTo>
                    <a:pt x="247" y="770"/>
                  </a:lnTo>
                  <a:lnTo>
                    <a:pt x="248" y="773"/>
                  </a:lnTo>
                  <a:lnTo>
                    <a:pt x="249" y="776"/>
                  </a:lnTo>
                  <a:lnTo>
                    <a:pt x="251" y="778"/>
                  </a:lnTo>
                  <a:lnTo>
                    <a:pt x="253" y="779"/>
                  </a:lnTo>
                  <a:lnTo>
                    <a:pt x="256" y="781"/>
                  </a:lnTo>
                  <a:lnTo>
                    <a:pt x="259" y="781"/>
                  </a:lnTo>
                  <a:lnTo>
                    <a:pt x="262" y="782"/>
                  </a:lnTo>
                  <a:lnTo>
                    <a:pt x="338" y="782"/>
                  </a:lnTo>
                  <a:lnTo>
                    <a:pt x="341" y="781"/>
                  </a:lnTo>
                  <a:lnTo>
                    <a:pt x="343" y="781"/>
                  </a:lnTo>
                  <a:lnTo>
                    <a:pt x="347" y="779"/>
                  </a:lnTo>
                  <a:lnTo>
                    <a:pt x="349" y="778"/>
                  </a:lnTo>
                  <a:lnTo>
                    <a:pt x="351" y="776"/>
                  </a:lnTo>
                  <a:lnTo>
                    <a:pt x="352" y="773"/>
                  </a:lnTo>
                  <a:lnTo>
                    <a:pt x="353" y="770"/>
                  </a:lnTo>
                  <a:lnTo>
                    <a:pt x="353" y="767"/>
                  </a:lnTo>
                  <a:lnTo>
                    <a:pt x="353" y="760"/>
                  </a:lnTo>
                  <a:lnTo>
                    <a:pt x="353" y="744"/>
                  </a:lnTo>
                  <a:lnTo>
                    <a:pt x="352" y="721"/>
                  </a:lnTo>
                  <a:lnTo>
                    <a:pt x="351" y="693"/>
                  </a:lnTo>
                  <a:lnTo>
                    <a:pt x="349" y="663"/>
                  </a:lnTo>
                  <a:lnTo>
                    <a:pt x="344" y="633"/>
                  </a:lnTo>
                  <a:lnTo>
                    <a:pt x="342" y="619"/>
                  </a:lnTo>
                  <a:lnTo>
                    <a:pt x="340" y="605"/>
                  </a:lnTo>
                  <a:lnTo>
                    <a:pt x="337" y="592"/>
                  </a:lnTo>
                  <a:lnTo>
                    <a:pt x="334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9727241-77AC-6D88-11F7-65DAC26CCFD9}"/>
              </a:ext>
            </a:extLst>
          </p:cNvPr>
          <p:cNvGrpSpPr/>
          <p:nvPr/>
        </p:nvGrpSpPr>
        <p:grpSpPr>
          <a:xfrm>
            <a:off x="7636336" y="4763983"/>
            <a:ext cx="287338" cy="249238"/>
            <a:chOff x="8736013" y="2536825"/>
            <a:chExt cx="287338" cy="249238"/>
          </a:xfrm>
          <a:solidFill>
            <a:srgbClr val="78D2D2"/>
          </a:solidFill>
        </p:grpSpPr>
        <p:sp>
          <p:nvSpPr>
            <p:cNvPr id="88" name="Freeform 219">
              <a:extLst>
                <a:ext uri="{FF2B5EF4-FFF2-40B4-BE49-F238E27FC236}">
                  <a16:creationId xmlns:a16="http://schemas.microsoft.com/office/drawing/2014/main" id="{C0C89340-829D-E311-0297-85725B31EF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163" y="2632075"/>
              <a:ext cx="230188" cy="153988"/>
            </a:xfrm>
            <a:custGeom>
              <a:avLst/>
              <a:gdLst>
                <a:gd name="T0" fmla="*/ 621 w 722"/>
                <a:gd name="T1" fmla="*/ 368 h 481"/>
                <a:gd name="T2" fmla="*/ 588 w 722"/>
                <a:gd name="T3" fmla="*/ 338 h 481"/>
                <a:gd name="T4" fmla="*/ 557 w 722"/>
                <a:gd name="T5" fmla="*/ 331 h 481"/>
                <a:gd name="T6" fmla="*/ 525 w 722"/>
                <a:gd name="T7" fmla="*/ 338 h 481"/>
                <a:gd name="T8" fmla="*/ 493 w 722"/>
                <a:gd name="T9" fmla="*/ 368 h 481"/>
                <a:gd name="T10" fmla="*/ 451 w 722"/>
                <a:gd name="T11" fmla="*/ 391 h 481"/>
                <a:gd name="T12" fmla="*/ 557 w 722"/>
                <a:gd name="T13" fmla="*/ 451 h 481"/>
                <a:gd name="T14" fmla="*/ 520 w 722"/>
                <a:gd name="T15" fmla="*/ 432 h 481"/>
                <a:gd name="T16" fmla="*/ 515 w 722"/>
                <a:gd name="T17" fmla="*/ 389 h 481"/>
                <a:gd name="T18" fmla="*/ 547 w 722"/>
                <a:gd name="T19" fmla="*/ 362 h 481"/>
                <a:gd name="T20" fmla="*/ 588 w 722"/>
                <a:gd name="T21" fmla="*/ 374 h 481"/>
                <a:gd name="T22" fmla="*/ 601 w 722"/>
                <a:gd name="T23" fmla="*/ 415 h 481"/>
                <a:gd name="T24" fmla="*/ 574 w 722"/>
                <a:gd name="T25" fmla="*/ 448 h 481"/>
                <a:gd name="T26" fmla="*/ 451 w 722"/>
                <a:gd name="T27" fmla="*/ 241 h 481"/>
                <a:gd name="T28" fmla="*/ 163 w 722"/>
                <a:gd name="T29" fmla="*/ 448 h 481"/>
                <a:gd name="T30" fmla="*/ 136 w 722"/>
                <a:gd name="T31" fmla="*/ 415 h 481"/>
                <a:gd name="T32" fmla="*/ 149 w 722"/>
                <a:gd name="T33" fmla="*/ 374 h 481"/>
                <a:gd name="T34" fmla="*/ 190 w 722"/>
                <a:gd name="T35" fmla="*/ 362 h 481"/>
                <a:gd name="T36" fmla="*/ 222 w 722"/>
                <a:gd name="T37" fmla="*/ 389 h 481"/>
                <a:gd name="T38" fmla="*/ 219 w 722"/>
                <a:gd name="T39" fmla="*/ 431 h 481"/>
                <a:gd name="T40" fmla="*/ 181 w 722"/>
                <a:gd name="T41" fmla="*/ 451 h 481"/>
                <a:gd name="T42" fmla="*/ 565 w 722"/>
                <a:gd name="T43" fmla="*/ 94 h 481"/>
                <a:gd name="T44" fmla="*/ 451 w 722"/>
                <a:gd name="T45" fmla="*/ 15 h 481"/>
                <a:gd name="T46" fmla="*/ 445 w 722"/>
                <a:gd name="T47" fmla="*/ 3 h 481"/>
                <a:gd name="T48" fmla="*/ 253 w 722"/>
                <a:gd name="T49" fmla="*/ 0 h 481"/>
                <a:gd name="T50" fmla="*/ 242 w 722"/>
                <a:gd name="T51" fmla="*/ 10 h 481"/>
                <a:gd name="T52" fmla="*/ 243 w 722"/>
                <a:gd name="T53" fmla="*/ 24 h 481"/>
                <a:gd name="T54" fmla="*/ 256 w 722"/>
                <a:gd name="T55" fmla="*/ 30 h 481"/>
                <a:gd name="T56" fmla="*/ 251 w 722"/>
                <a:gd name="T57" fmla="*/ 378 h 481"/>
                <a:gd name="T58" fmla="*/ 224 w 722"/>
                <a:gd name="T59" fmla="*/ 344 h 481"/>
                <a:gd name="T60" fmla="*/ 194 w 722"/>
                <a:gd name="T61" fmla="*/ 332 h 481"/>
                <a:gd name="T62" fmla="*/ 161 w 722"/>
                <a:gd name="T63" fmla="*/ 334 h 481"/>
                <a:gd name="T64" fmla="*/ 133 w 722"/>
                <a:gd name="T65" fmla="*/ 349 h 481"/>
                <a:gd name="T66" fmla="*/ 108 w 722"/>
                <a:gd name="T67" fmla="*/ 385 h 481"/>
                <a:gd name="T68" fmla="*/ 29 w 722"/>
                <a:gd name="T69" fmla="*/ 115 h 481"/>
                <a:gd name="T70" fmla="*/ 18 w 722"/>
                <a:gd name="T71" fmla="*/ 106 h 481"/>
                <a:gd name="T72" fmla="*/ 4 w 722"/>
                <a:gd name="T73" fmla="*/ 110 h 481"/>
                <a:gd name="T74" fmla="*/ 0 w 722"/>
                <a:gd name="T75" fmla="*/ 406 h 481"/>
                <a:gd name="T76" fmla="*/ 6 w 722"/>
                <a:gd name="T77" fmla="*/ 419 h 481"/>
                <a:gd name="T78" fmla="*/ 108 w 722"/>
                <a:gd name="T79" fmla="*/ 428 h 481"/>
                <a:gd name="T80" fmla="*/ 133 w 722"/>
                <a:gd name="T81" fmla="*/ 464 h 481"/>
                <a:gd name="T82" fmla="*/ 161 w 722"/>
                <a:gd name="T83" fmla="*/ 479 h 481"/>
                <a:gd name="T84" fmla="*/ 194 w 722"/>
                <a:gd name="T85" fmla="*/ 480 h 481"/>
                <a:gd name="T86" fmla="*/ 224 w 722"/>
                <a:gd name="T87" fmla="*/ 468 h 481"/>
                <a:gd name="T88" fmla="*/ 251 w 722"/>
                <a:gd name="T89" fmla="*/ 434 h 481"/>
                <a:gd name="T90" fmla="*/ 484 w 722"/>
                <a:gd name="T91" fmla="*/ 428 h 481"/>
                <a:gd name="T92" fmla="*/ 509 w 722"/>
                <a:gd name="T93" fmla="*/ 464 h 481"/>
                <a:gd name="T94" fmla="*/ 537 w 722"/>
                <a:gd name="T95" fmla="*/ 479 h 481"/>
                <a:gd name="T96" fmla="*/ 570 w 722"/>
                <a:gd name="T97" fmla="*/ 480 h 481"/>
                <a:gd name="T98" fmla="*/ 599 w 722"/>
                <a:gd name="T99" fmla="*/ 468 h 481"/>
                <a:gd name="T100" fmla="*/ 627 w 722"/>
                <a:gd name="T101" fmla="*/ 434 h 481"/>
                <a:gd name="T102" fmla="*/ 712 w 722"/>
                <a:gd name="T103" fmla="*/ 420 h 481"/>
                <a:gd name="T104" fmla="*/ 722 w 722"/>
                <a:gd name="T105" fmla="*/ 410 h 481"/>
                <a:gd name="T106" fmla="*/ 721 w 722"/>
                <a:gd name="T107" fmla="*/ 25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81">
                  <a:moveTo>
                    <a:pt x="630" y="391"/>
                  </a:moveTo>
                  <a:lnTo>
                    <a:pt x="629" y="385"/>
                  </a:lnTo>
                  <a:lnTo>
                    <a:pt x="627" y="378"/>
                  </a:lnTo>
                  <a:lnTo>
                    <a:pt x="623" y="373"/>
                  </a:lnTo>
                  <a:lnTo>
                    <a:pt x="621" y="368"/>
                  </a:lnTo>
                  <a:lnTo>
                    <a:pt x="614" y="357"/>
                  </a:lnTo>
                  <a:lnTo>
                    <a:pt x="604" y="349"/>
                  </a:lnTo>
                  <a:lnTo>
                    <a:pt x="599" y="344"/>
                  </a:lnTo>
                  <a:lnTo>
                    <a:pt x="593" y="341"/>
                  </a:lnTo>
                  <a:lnTo>
                    <a:pt x="588" y="338"/>
                  </a:lnTo>
                  <a:lnTo>
                    <a:pt x="583" y="336"/>
                  </a:lnTo>
                  <a:lnTo>
                    <a:pt x="576" y="334"/>
                  </a:lnTo>
                  <a:lnTo>
                    <a:pt x="570" y="332"/>
                  </a:lnTo>
                  <a:lnTo>
                    <a:pt x="563" y="331"/>
                  </a:lnTo>
                  <a:lnTo>
                    <a:pt x="557" y="331"/>
                  </a:lnTo>
                  <a:lnTo>
                    <a:pt x="550" y="331"/>
                  </a:lnTo>
                  <a:lnTo>
                    <a:pt x="543" y="332"/>
                  </a:lnTo>
                  <a:lnTo>
                    <a:pt x="537" y="334"/>
                  </a:lnTo>
                  <a:lnTo>
                    <a:pt x="530" y="336"/>
                  </a:lnTo>
                  <a:lnTo>
                    <a:pt x="525" y="338"/>
                  </a:lnTo>
                  <a:lnTo>
                    <a:pt x="520" y="341"/>
                  </a:lnTo>
                  <a:lnTo>
                    <a:pt x="514" y="344"/>
                  </a:lnTo>
                  <a:lnTo>
                    <a:pt x="509" y="349"/>
                  </a:lnTo>
                  <a:lnTo>
                    <a:pt x="499" y="357"/>
                  </a:lnTo>
                  <a:lnTo>
                    <a:pt x="493" y="368"/>
                  </a:lnTo>
                  <a:lnTo>
                    <a:pt x="490" y="373"/>
                  </a:lnTo>
                  <a:lnTo>
                    <a:pt x="486" y="378"/>
                  </a:lnTo>
                  <a:lnTo>
                    <a:pt x="484" y="385"/>
                  </a:lnTo>
                  <a:lnTo>
                    <a:pt x="483" y="391"/>
                  </a:lnTo>
                  <a:lnTo>
                    <a:pt x="451" y="391"/>
                  </a:lnTo>
                  <a:lnTo>
                    <a:pt x="451" y="271"/>
                  </a:lnTo>
                  <a:lnTo>
                    <a:pt x="692" y="271"/>
                  </a:lnTo>
                  <a:lnTo>
                    <a:pt x="692" y="391"/>
                  </a:lnTo>
                  <a:lnTo>
                    <a:pt x="630" y="391"/>
                  </a:lnTo>
                  <a:close/>
                  <a:moveTo>
                    <a:pt x="557" y="451"/>
                  </a:moveTo>
                  <a:lnTo>
                    <a:pt x="547" y="450"/>
                  </a:lnTo>
                  <a:lnTo>
                    <a:pt x="539" y="448"/>
                  </a:lnTo>
                  <a:lnTo>
                    <a:pt x="531" y="444"/>
                  </a:lnTo>
                  <a:lnTo>
                    <a:pt x="525" y="438"/>
                  </a:lnTo>
                  <a:lnTo>
                    <a:pt x="520" y="432"/>
                  </a:lnTo>
                  <a:lnTo>
                    <a:pt x="515" y="423"/>
                  </a:lnTo>
                  <a:lnTo>
                    <a:pt x="512" y="415"/>
                  </a:lnTo>
                  <a:lnTo>
                    <a:pt x="511" y="406"/>
                  </a:lnTo>
                  <a:lnTo>
                    <a:pt x="512" y="398"/>
                  </a:lnTo>
                  <a:lnTo>
                    <a:pt x="515" y="389"/>
                  </a:lnTo>
                  <a:lnTo>
                    <a:pt x="520" y="381"/>
                  </a:lnTo>
                  <a:lnTo>
                    <a:pt x="525" y="374"/>
                  </a:lnTo>
                  <a:lnTo>
                    <a:pt x="531" y="369"/>
                  </a:lnTo>
                  <a:lnTo>
                    <a:pt x="539" y="365"/>
                  </a:lnTo>
                  <a:lnTo>
                    <a:pt x="547" y="362"/>
                  </a:lnTo>
                  <a:lnTo>
                    <a:pt x="557" y="361"/>
                  </a:lnTo>
                  <a:lnTo>
                    <a:pt x="566" y="362"/>
                  </a:lnTo>
                  <a:lnTo>
                    <a:pt x="574" y="365"/>
                  </a:lnTo>
                  <a:lnTo>
                    <a:pt x="582" y="369"/>
                  </a:lnTo>
                  <a:lnTo>
                    <a:pt x="588" y="374"/>
                  </a:lnTo>
                  <a:lnTo>
                    <a:pt x="593" y="381"/>
                  </a:lnTo>
                  <a:lnTo>
                    <a:pt x="598" y="389"/>
                  </a:lnTo>
                  <a:lnTo>
                    <a:pt x="601" y="398"/>
                  </a:lnTo>
                  <a:lnTo>
                    <a:pt x="602" y="406"/>
                  </a:lnTo>
                  <a:lnTo>
                    <a:pt x="601" y="415"/>
                  </a:lnTo>
                  <a:lnTo>
                    <a:pt x="598" y="423"/>
                  </a:lnTo>
                  <a:lnTo>
                    <a:pt x="593" y="431"/>
                  </a:lnTo>
                  <a:lnTo>
                    <a:pt x="588" y="438"/>
                  </a:lnTo>
                  <a:lnTo>
                    <a:pt x="582" y="444"/>
                  </a:lnTo>
                  <a:lnTo>
                    <a:pt x="574" y="448"/>
                  </a:lnTo>
                  <a:lnTo>
                    <a:pt x="566" y="450"/>
                  </a:lnTo>
                  <a:lnTo>
                    <a:pt x="557" y="451"/>
                  </a:lnTo>
                  <a:close/>
                  <a:moveTo>
                    <a:pt x="551" y="120"/>
                  </a:moveTo>
                  <a:lnTo>
                    <a:pt x="671" y="241"/>
                  </a:lnTo>
                  <a:lnTo>
                    <a:pt x="451" y="241"/>
                  </a:lnTo>
                  <a:lnTo>
                    <a:pt x="451" y="120"/>
                  </a:lnTo>
                  <a:lnTo>
                    <a:pt x="551" y="120"/>
                  </a:lnTo>
                  <a:close/>
                  <a:moveTo>
                    <a:pt x="181" y="451"/>
                  </a:moveTo>
                  <a:lnTo>
                    <a:pt x="171" y="450"/>
                  </a:lnTo>
                  <a:lnTo>
                    <a:pt x="163" y="448"/>
                  </a:lnTo>
                  <a:lnTo>
                    <a:pt x="155" y="444"/>
                  </a:lnTo>
                  <a:lnTo>
                    <a:pt x="149" y="438"/>
                  </a:lnTo>
                  <a:lnTo>
                    <a:pt x="144" y="432"/>
                  </a:lnTo>
                  <a:lnTo>
                    <a:pt x="139" y="423"/>
                  </a:lnTo>
                  <a:lnTo>
                    <a:pt x="136" y="415"/>
                  </a:lnTo>
                  <a:lnTo>
                    <a:pt x="136" y="406"/>
                  </a:lnTo>
                  <a:lnTo>
                    <a:pt x="136" y="398"/>
                  </a:lnTo>
                  <a:lnTo>
                    <a:pt x="139" y="389"/>
                  </a:lnTo>
                  <a:lnTo>
                    <a:pt x="144" y="381"/>
                  </a:lnTo>
                  <a:lnTo>
                    <a:pt x="149" y="374"/>
                  </a:lnTo>
                  <a:lnTo>
                    <a:pt x="155" y="369"/>
                  </a:lnTo>
                  <a:lnTo>
                    <a:pt x="163" y="365"/>
                  </a:lnTo>
                  <a:lnTo>
                    <a:pt x="171" y="362"/>
                  </a:lnTo>
                  <a:lnTo>
                    <a:pt x="181" y="361"/>
                  </a:lnTo>
                  <a:lnTo>
                    <a:pt x="190" y="362"/>
                  </a:lnTo>
                  <a:lnTo>
                    <a:pt x="198" y="365"/>
                  </a:lnTo>
                  <a:lnTo>
                    <a:pt x="206" y="369"/>
                  </a:lnTo>
                  <a:lnTo>
                    <a:pt x="212" y="374"/>
                  </a:lnTo>
                  <a:lnTo>
                    <a:pt x="219" y="381"/>
                  </a:lnTo>
                  <a:lnTo>
                    <a:pt x="222" y="389"/>
                  </a:lnTo>
                  <a:lnTo>
                    <a:pt x="225" y="398"/>
                  </a:lnTo>
                  <a:lnTo>
                    <a:pt x="226" y="406"/>
                  </a:lnTo>
                  <a:lnTo>
                    <a:pt x="225" y="415"/>
                  </a:lnTo>
                  <a:lnTo>
                    <a:pt x="222" y="423"/>
                  </a:lnTo>
                  <a:lnTo>
                    <a:pt x="219" y="431"/>
                  </a:lnTo>
                  <a:lnTo>
                    <a:pt x="212" y="438"/>
                  </a:lnTo>
                  <a:lnTo>
                    <a:pt x="206" y="444"/>
                  </a:lnTo>
                  <a:lnTo>
                    <a:pt x="198" y="448"/>
                  </a:lnTo>
                  <a:lnTo>
                    <a:pt x="190" y="450"/>
                  </a:lnTo>
                  <a:lnTo>
                    <a:pt x="181" y="451"/>
                  </a:lnTo>
                  <a:close/>
                  <a:moveTo>
                    <a:pt x="721" y="250"/>
                  </a:moveTo>
                  <a:lnTo>
                    <a:pt x="720" y="248"/>
                  </a:lnTo>
                  <a:lnTo>
                    <a:pt x="718" y="246"/>
                  </a:lnTo>
                  <a:lnTo>
                    <a:pt x="568" y="95"/>
                  </a:lnTo>
                  <a:lnTo>
                    <a:pt x="565" y="94"/>
                  </a:lnTo>
                  <a:lnTo>
                    <a:pt x="562" y="91"/>
                  </a:lnTo>
                  <a:lnTo>
                    <a:pt x="559" y="91"/>
                  </a:lnTo>
                  <a:lnTo>
                    <a:pt x="557" y="90"/>
                  </a:lnTo>
                  <a:lnTo>
                    <a:pt x="451" y="90"/>
                  </a:lnTo>
                  <a:lnTo>
                    <a:pt x="451" y="15"/>
                  </a:lnTo>
                  <a:lnTo>
                    <a:pt x="451" y="12"/>
                  </a:lnTo>
                  <a:lnTo>
                    <a:pt x="450" y="10"/>
                  </a:lnTo>
                  <a:lnTo>
                    <a:pt x="449" y="7"/>
                  </a:lnTo>
                  <a:lnTo>
                    <a:pt x="447" y="5"/>
                  </a:lnTo>
                  <a:lnTo>
                    <a:pt x="445" y="3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50" y="1"/>
                  </a:lnTo>
                  <a:lnTo>
                    <a:pt x="247" y="3"/>
                  </a:lnTo>
                  <a:lnTo>
                    <a:pt x="245" y="5"/>
                  </a:lnTo>
                  <a:lnTo>
                    <a:pt x="243" y="7"/>
                  </a:lnTo>
                  <a:lnTo>
                    <a:pt x="242" y="10"/>
                  </a:lnTo>
                  <a:lnTo>
                    <a:pt x="241" y="12"/>
                  </a:lnTo>
                  <a:lnTo>
                    <a:pt x="241" y="15"/>
                  </a:lnTo>
                  <a:lnTo>
                    <a:pt x="241" y="19"/>
                  </a:lnTo>
                  <a:lnTo>
                    <a:pt x="242" y="22"/>
                  </a:lnTo>
                  <a:lnTo>
                    <a:pt x="243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3" y="30"/>
                  </a:lnTo>
                  <a:lnTo>
                    <a:pt x="256" y="30"/>
                  </a:lnTo>
                  <a:lnTo>
                    <a:pt x="421" y="30"/>
                  </a:lnTo>
                  <a:lnTo>
                    <a:pt x="421" y="391"/>
                  </a:lnTo>
                  <a:lnTo>
                    <a:pt x="254" y="391"/>
                  </a:lnTo>
                  <a:lnTo>
                    <a:pt x="253" y="385"/>
                  </a:lnTo>
                  <a:lnTo>
                    <a:pt x="251" y="378"/>
                  </a:lnTo>
                  <a:lnTo>
                    <a:pt x="249" y="373"/>
                  </a:lnTo>
                  <a:lnTo>
                    <a:pt x="245" y="368"/>
                  </a:lnTo>
                  <a:lnTo>
                    <a:pt x="238" y="357"/>
                  </a:lnTo>
                  <a:lnTo>
                    <a:pt x="228" y="349"/>
                  </a:lnTo>
                  <a:lnTo>
                    <a:pt x="224" y="344"/>
                  </a:lnTo>
                  <a:lnTo>
                    <a:pt x="219" y="341"/>
                  </a:lnTo>
                  <a:lnTo>
                    <a:pt x="212" y="338"/>
                  </a:lnTo>
                  <a:lnTo>
                    <a:pt x="207" y="336"/>
                  </a:lnTo>
                  <a:lnTo>
                    <a:pt x="200" y="334"/>
                  </a:lnTo>
                  <a:lnTo>
                    <a:pt x="194" y="332"/>
                  </a:lnTo>
                  <a:lnTo>
                    <a:pt x="187" y="331"/>
                  </a:lnTo>
                  <a:lnTo>
                    <a:pt x="181" y="331"/>
                  </a:lnTo>
                  <a:lnTo>
                    <a:pt x="174" y="331"/>
                  </a:lnTo>
                  <a:lnTo>
                    <a:pt x="167" y="332"/>
                  </a:lnTo>
                  <a:lnTo>
                    <a:pt x="161" y="334"/>
                  </a:lnTo>
                  <a:lnTo>
                    <a:pt x="155" y="336"/>
                  </a:lnTo>
                  <a:lnTo>
                    <a:pt x="149" y="338"/>
                  </a:lnTo>
                  <a:lnTo>
                    <a:pt x="144" y="341"/>
                  </a:lnTo>
                  <a:lnTo>
                    <a:pt x="138" y="344"/>
                  </a:lnTo>
                  <a:lnTo>
                    <a:pt x="133" y="349"/>
                  </a:lnTo>
                  <a:lnTo>
                    <a:pt x="124" y="357"/>
                  </a:lnTo>
                  <a:lnTo>
                    <a:pt x="117" y="368"/>
                  </a:lnTo>
                  <a:lnTo>
                    <a:pt x="114" y="373"/>
                  </a:lnTo>
                  <a:lnTo>
                    <a:pt x="110" y="378"/>
                  </a:lnTo>
                  <a:lnTo>
                    <a:pt x="108" y="385"/>
                  </a:lnTo>
                  <a:lnTo>
                    <a:pt x="107" y="391"/>
                  </a:lnTo>
                  <a:lnTo>
                    <a:pt x="30" y="391"/>
                  </a:lnTo>
                  <a:lnTo>
                    <a:pt x="30" y="120"/>
                  </a:lnTo>
                  <a:lnTo>
                    <a:pt x="30" y="117"/>
                  </a:lnTo>
                  <a:lnTo>
                    <a:pt x="29" y="115"/>
                  </a:lnTo>
                  <a:lnTo>
                    <a:pt x="28" y="112"/>
                  </a:lnTo>
                  <a:lnTo>
                    <a:pt x="26" y="110"/>
                  </a:lnTo>
                  <a:lnTo>
                    <a:pt x="24" y="109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6" y="109"/>
                  </a:lnTo>
                  <a:lnTo>
                    <a:pt x="4" y="110"/>
                  </a:lnTo>
                  <a:lnTo>
                    <a:pt x="3" y="112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0" y="120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10" y="420"/>
                  </a:lnTo>
                  <a:lnTo>
                    <a:pt x="12" y="421"/>
                  </a:lnTo>
                  <a:lnTo>
                    <a:pt x="15" y="421"/>
                  </a:lnTo>
                  <a:lnTo>
                    <a:pt x="107" y="421"/>
                  </a:lnTo>
                  <a:lnTo>
                    <a:pt x="108" y="428"/>
                  </a:lnTo>
                  <a:lnTo>
                    <a:pt x="110" y="434"/>
                  </a:lnTo>
                  <a:lnTo>
                    <a:pt x="114" y="440"/>
                  </a:lnTo>
                  <a:lnTo>
                    <a:pt x="117" y="445"/>
                  </a:lnTo>
                  <a:lnTo>
                    <a:pt x="124" y="456"/>
                  </a:lnTo>
                  <a:lnTo>
                    <a:pt x="133" y="464"/>
                  </a:lnTo>
                  <a:lnTo>
                    <a:pt x="138" y="468"/>
                  </a:lnTo>
                  <a:lnTo>
                    <a:pt x="144" y="472"/>
                  </a:lnTo>
                  <a:lnTo>
                    <a:pt x="149" y="475"/>
                  </a:lnTo>
                  <a:lnTo>
                    <a:pt x="155" y="477"/>
                  </a:lnTo>
                  <a:lnTo>
                    <a:pt x="161" y="479"/>
                  </a:lnTo>
                  <a:lnTo>
                    <a:pt x="167" y="480"/>
                  </a:lnTo>
                  <a:lnTo>
                    <a:pt x="174" y="481"/>
                  </a:lnTo>
                  <a:lnTo>
                    <a:pt x="181" y="481"/>
                  </a:lnTo>
                  <a:lnTo>
                    <a:pt x="187" y="481"/>
                  </a:lnTo>
                  <a:lnTo>
                    <a:pt x="194" y="480"/>
                  </a:lnTo>
                  <a:lnTo>
                    <a:pt x="200" y="479"/>
                  </a:lnTo>
                  <a:lnTo>
                    <a:pt x="207" y="477"/>
                  </a:lnTo>
                  <a:lnTo>
                    <a:pt x="212" y="475"/>
                  </a:lnTo>
                  <a:lnTo>
                    <a:pt x="219" y="472"/>
                  </a:lnTo>
                  <a:lnTo>
                    <a:pt x="224" y="468"/>
                  </a:lnTo>
                  <a:lnTo>
                    <a:pt x="228" y="464"/>
                  </a:lnTo>
                  <a:lnTo>
                    <a:pt x="238" y="456"/>
                  </a:lnTo>
                  <a:lnTo>
                    <a:pt x="245" y="445"/>
                  </a:lnTo>
                  <a:lnTo>
                    <a:pt x="249" y="440"/>
                  </a:lnTo>
                  <a:lnTo>
                    <a:pt x="251" y="434"/>
                  </a:lnTo>
                  <a:lnTo>
                    <a:pt x="253" y="428"/>
                  </a:lnTo>
                  <a:lnTo>
                    <a:pt x="254" y="421"/>
                  </a:lnTo>
                  <a:lnTo>
                    <a:pt x="436" y="421"/>
                  </a:lnTo>
                  <a:lnTo>
                    <a:pt x="483" y="421"/>
                  </a:lnTo>
                  <a:lnTo>
                    <a:pt x="484" y="428"/>
                  </a:lnTo>
                  <a:lnTo>
                    <a:pt x="486" y="434"/>
                  </a:lnTo>
                  <a:lnTo>
                    <a:pt x="490" y="440"/>
                  </a:lnTo>
                  <a:lnTo>
                    <a:pt x="493" y="445"/>
                  </a:lnTo>
                  <a:lnTo>
                    <a:pt x="499" y="456"/>
                  </a:lnTo>
                  <a:lnTo>
                    <a:pt x="509" y="464"/>
                  </a:lnTo>
                  <a:lnTo>
                    <a:pt x="514" y="468"/>
                  </a:lnTo>
                  <a:lnTo>
                    <a:pt x="520" y="472"/>
                  </a:lnTo>
                  <a:lnTo>
                    <a:pt x="525" y="475"/>
                  </a:lnTo>
                  <a:lnTo>
                    <a:pt x="530" y="477"/>
                  </a:lnTo>
                  <a:lnTo>
                    <a:pt x="537" y="479"/>
                  </a:lnTo>
                  <a:lnTo>
                    <a:pt x="543" y="480"/>
                  </a:lnTo>
                  <a:lnTo>
                    <a:pt x="550" y="481"/>
                  </a:lnTo>
                  <a:lnTo>
                    <a:pt x="557" y="481"/>
                  </a:lnTo>
                  <a:lnTo>
                    <a:pt x="563" y="481"/>
                  </a:lnTo>
                  <a:lnTo>
                    <a:pt x="570" y="480"/>
                  </a:lnTo>
                  <a:lnTo>
                    <a:pt x="576" y="479"/>
                  </a:lnTo>
                  <a:lnTo>
                    <a:pt x="583" y="477"/>
                  </a:lnTo>
                  <a:lnTo>
                    <a:pt x="588" y="475"/>
                  </a:lnTo>
                  <a:lnTo>
                    <a:pt x="593" y="472"/>
                  </a:lnTo>
                  <a:lnTo>
                    <a:pt x="599" y="468"/>
                  </a:lnTo>
                  <a:lnTo>
                    <a:pt x="604" y="464"/>
                  </a:lnTo>
                  <a:lnTo>
                    <a:pt x="614" y="456"/>
                  </a:lnTo>
                  <a:lnTo>
                    <a:pt x="621" y="445"/>
                  </a:lnTo>
                  <a:lnTo>
                    <a:pt x="623" y="440"/>
                  </a:lnTo>
                  <a:lnTo>
                    <a:pt x="627" y="434"/>
                  </a:lnTo>
                  <a:lnTo>
                    <a:pt x="629" y="428"/>
                  </a:lnTo>
                  <a:lnTo>
                    <a:pt x="630" y="421"/>
                  </a:lnTo>
                  <a:lnTo>
                    <a:pt x="707" y="421"/>
                  </a:lnTo>
                  <a:lnTo>
                    <a:pt x="710" y="421"/>
                  </a:lnTo>
                  <a:lnTo>
                    <a:pt x="712" y="420"/>
                  </a:lnTo>
                  <a:lnTo>
                    <a:pt x="716" y="419"/>
                  </a:lnTo>
                  <a:lnTo>
                    <a:pt x="718" y="417"/>
                  </a:lnTo>
                  <a:lnTo>
                    <a:pt x="720" y="415"/>
                  </a:lnTo>
                  <a:lnTo>
                    <a:pt x="721" y="412"/>
                  </a:lnTo>
                  <a:lnTo>
                    <a:pt x="722" y="410"/>
                  </a:lnTo>
                  <a:lnTo>
                    <a:pt x="722" y="406"/>
                  </a:lnTo>
                  <a:lnTo>
                    <a:pt x="722" y="256"/>
                  </a:lnTo>
                  <a:lnTo>
                    <a:pt x="722" y="253"/>
                  </a:lnTo>
                  <a:lnTo>
                    <a:pt x="721" y="250"/>
                  </a:lnTo>
                  <a:lnTo>
                    <a:pt x="721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89" name="Freeform 220">
              <a:extLst>
                <a:ext uri="{FF2B5EF4-FFF2-40B4-BE49-F238E27FC236}">
                  <a16:creationId xmlns:a16="http://schemas.microsoft.com/office/drawing/2014/main" id="{4C7C0E52-36FF-BC19-DB51-7AF7DB8B5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3163" y="2565400"/>
              <a:ext cx="28575" cy="38100"/>
            </a:xfrm>
            <a:custGeom>
              <a:avLst/>
              <a:gdLst>
                <a:gd name="T0" fmla="*/ 15 w 90"/>
                <a:gd name="T1" fmla="*/ 120 h 120"/>
                <a:gd name="T2" fmla="*/ 75 w 90"/>
                <a:gd name="T3" fmla="*/ 120 h 120"/>
                <a:gd name="T4" fmla="*/ 78 w 90"/>
                <a:gd name="T5" fmla="*/ 120 h 120"/>
                <a:gd name="T6" fmla="*/ 81 w 90"/>
                <a:gd name="T7" fmla="*/ 119 h 120"/>
                <a:gd name="T8" fmla="*/ 84 w 90"/>
                <a:gd name="T9" fmla="*/ 117 h 120"/>
                <a:gd name="T10" fmla="*/ 86 w 90"/>
                <a:gd name="T11" fmla="*/ 116 h 120"/>
                <a:gd name="T12" fmla="*/ 88 w 90"/>
                <a:gd name="T13" fmla="*/ 114 h 120"/>
                <a:gd name="T14" fmla="*/ 89 w 90"/>
                <a:gd name="T15" fmla="*/ 111 h 120"/>
                <a:gd name="T16" fmla="*/ 90 w 90"/>
                <a:gd name="T17" fmla="*/ 109 h 120"/>
                <a:gd name="T18" fmla="*/ 90 w 90"/>
                <a:gd name="T19" fmla="*/ 105 h 120"/>
                <a:gd name="T20" fmla="*/ 90 w 90"/>
                <a:gd name="T21" fmla="*/ 102 h 120"/>
                <a:gd name="T22" fmla="*/ 89 w 90"/>
                <a:gd name="T23" fmla="*/ 99 h 120"/>
                <a:gd name="T24" fmla="*/ 88 w 90"/>
                <a:gd name="T25" fmla="*/ 97 h 120"/>
                <a:gd name="T26" fmla="*/ 86 w 90"/>
                <a:gd name="T27" fmla="*/ 95 h 120"/>
                <a:gd name="T28" fmla="*/ 84 w 90"/>
                <a:gd name="T29" fmla="*/ 93 h 120"/>
                <a:gd name="T30" fmla="*/ 81 w 90"/>
                <a:gd name="T31" fmla="*/ 91 h 120"/>
                <a:gd name="T32" fmla="*/ 78 w 90"/>
                <a:gd name="T33" fmla="*/ 90 h 120"/>
                <a:gd name="T34" fmla="*/ 75 w 90"/>
                <a:gd name="T35" fmla="*/ 90 h 120"/>
                <a:gd name="T36" fmla="*/ 30 w 90"/>
                <a:gd name="T37" fmla="*/ 90 h 120"/>
                <a:gd name="T38" fmla="*/ 30 w 90"/>
                <a:gd name="T39" fmla="*/ 15 h 120"/>
                <a:gd name="T40" fmla="*/ 30 w 90"/>
                <a:gd name="T41" fmla="*/ 12 h 120"/>
                <a:gd name="T42" fmla="*/ 29 w 90"/>
                <a:gd name="T43" fmla="*/ 9 h 120"/>
                <a:gd name="T44" fmla="*/ 28 w 90"/>
                <a:gd name="T45" fmla="*/ 7 h 120"/>
                <a:gd name="T46" fmla="*/ 26 w 90"/>
                <a:gd name="T47" fmla="*/ 5 h 120"/>
                <a:gd name="T48" fmla="*/ 24 w 90"/>
                <a:gd name="T49" fmla="*/ 3 h 120"/>
                <a:gd name="T50" fmla="*/ 21 w 90"/>
                <a:gd name="T51" fmla="*/ 1 h 120"/>
                <a:gd name="T52" fmla="*/ 18 w 90"/>
                <a:gd name="T53" fmla="*/ 0 h 120"/>
                <a:gd name="T54" fmla="*/ 15 w 90"/>
                <a:gd name="T55" fmla="*/ 0 h 120"/>
                <a:gd name="T56" fmla="*/ 12 w 90"/>
                <a:gd name="T57" fmla="*/ 0 h 120"/>
                <a:gd name="T58" fmla="*/ 10 w 90"/>
                <a:gd name="T59" fmla="*/ 1 h 120"/>
                <a:gd name="T60" fmla="*/ 6 w 90"/>
                <a:gd name="T61" fmla="*/ 3 h 120"/>
                <a:gd name="T62" fmla="*/ 4 w 90"/>
                <a:gd name="T63" fmla="*/ 5 h 120"/>
                <a:gd name="T64" fmla="*/ 3 w 90"/>
                <a:gd name="T65" fmla="*/ 7 h 120"/>
                <a:gd name="T66" fmla="*/ 1 w 90"/>
                <a:gd name="T67" fmla="*/ 9 h 120"/>
                <a:gd name="T68" fmla="*/ 1 w 90"/>
                <a:gd name="T69" fmla="*/ 12 h 120"/>
                <a:gd name="T70" fmla="*/ 0 w 90"/>
                <a:gd name="T71" fmla="*/ 15 h 120"/>
                <a:gd name="T72" fmla="*/ 0 w 90"/>
                <a:gd name="T73" fmla="*/ 105 h 120"/>
                <a:gd name="T74" fmla="*/ 1 w 90"/>
                <a:gd name="T75" fmla="*/ 109 h 120"/>
                <a:gd name="T76" fmla="*/ 1 w 90"/>
                <a:gd name="T77" fmla="*/ 111 h 120"/>
                <a:gd name="T78" fmla="*/ 3 w 90"/>
                <a:gd name="T79" fmla="*/ 114 h 120"/>
                <a:gd name="T80" fmla="*/ 4 w 90"/>
                <a:gd name="T81" fmla="*/ 116 h 120"/>
                <a:gd name="T82" fmla="*/ 6 w 90"/>
                <a:gd name="T83" fmla="*/ 117 h 120"/>
                <a:gd name="T84" fmla="*/ 10 w 90"/>
                <a:gd name="T85" fmla="*/ 119 h 120"/>
                <a:gd name="T86" fmla="*/ 13 w 90"/>
                <a:gd name="T87" fmla="*/ 120 h 120"/>
                <a:gd name="T88" fmla="*/ 15 w 90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" h="120">
                  <a:moveTo>
                    <a:pt x="15" y="120"/>
                  </a:moveTo>
                  <a:lnTo>
                    <a:pt x="75" y="120"/>
                  </a:lnTo>
                  <a:lnTo>
                    <a:pt x="78" y="120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3"/>
                  </a:lnTo>
                  <a:lnTo>
                    <a:pt x="81" y="91"/>
                  </a:lnTo>
                  <a:lnTo>
                    <a:pt x="78" y="90"/>
                  </a:lnTo>
                  <a:lnTo>
                    <a:pt x="75" y="90"/>
                  </a:lnTo>
                  <a:lnTo>
                    <a:pt x="30" y="90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7"/>
                  </a:lnTo>
                  <a:lnTo>
                    <a:pt x="10" y="119"/>
                  </a:lnTo>
                  <a:lnTo>
                    <a:pt x="13" y="120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90" name="Freeform 221">
              <a:extLst>
                <a:ext uri="{FF2B5EF4-FFF2-40B4-BE49-F238E27FC236}">
                  <a16:creationId xmlns:a16="http://schemas.microsoft.com/office/drawing/2014/main" id="{2574F09B-0B9C-A385-E7F0-91E25F1A8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13" y="2698750"/>
              <a:ext cx="47625" cy="11113"/>
            </a:xfrm>
            <a:custGeom>
              <a:avLst/>
              <a:gdLst>
                <a:gd name="T0" fmla="*/ 135 w 150"/>
                <a:gd name="T1" fmla="*/ 0 h 31"/>
                <a:gd name="T2" fmla="*/ 15 w 150"/>
                <a:gd name="T3" fmla="*/ 0 h 31"/>
                <a:gd name="T4" fmla="*/ 12 w 150"/>
                <a:gd name="T5" fmla="*/ 1 h 31"/>
                <a:gd name="T6" fmla="*/ 9 w 150"/>
                <a:gd name="T7" fmla="*/ 2 h 31"/>
                <a:gd name="T8" fmla="*/ 6 w 150"/>
                <a:gd name="T9" fmla="*/ 4 h 31"/>
                <a:gd name="T10" fmla="*/ 4 w 150"/>
                <a:gd name="T11" fmla="*/ 6 h 31"/>
                <a:gd name="T12" fmla="*/ 2 w 150"/>
                <a:gd name="T13" fmla="*/ 8 h 31"/>
                <a:gd name="T14" fmla="*/ 1 w 150"/>
                <a:gd name="T15" fmla="*/ 10 h 31"/>
                <a:gd name="T16" fmla="*/ 0 w 150"/>
                <a:gd name="T17" fmla="*/ 13 h 31"/>
                <a:gd name="T18" fmla="*/ 0 w 150"/>
                <a:gd name="T19" fmla="*/ 16 h 31"/>
                <a:gd name="T20" fmla="*/ 0 w 150"/>
                <a:gd name="T21" fmla="*/ 19 h 31"/>
                <a:gd name="T22" fmla="*/ 1 w 150"/>
                <a:gd name="T23" fmla="*/ 22 h 31"/>
                <a:gd name="T24" fmla="*/ 2 w 150"/>
                <a:gd name="T25" fmla="*/ 24 h 31"/>
                <a:gd name="T26" fmla="*/ 4 w 150"/>
                <a:gd name="T27" fmla="*/ 26 h 31"/>
                <a:gd name="T28" fmla="*/ 6 w 150"/>
                <a:gd name="T29" fmla="*/ 28 h 31"/>
                <a:gd name="T30" fmla="*/ 9 w 150"/>
                <a:gd name="T31" fmla="*/ 29 h 31"/>
                <a:gd name="T32" fmla="*/ 12 w 150"/>
                <a:gd name="T33" fmla="*/ 30 h 31"/>
                <a:gd name="T34" fmla="*/ 15 w 150"/>
                <a:gd name="T35" fmla="*/ 31 h 31"/>
                <a:gd name="T36" fmla="*/ 135 w 150"/>
                <a:gd name="T37" fmla="*/ 31 h 31"/>
                <a:gd name="T38" fmla="*/ 138 w 150"/>
                <a:gd name="T39" fmla="*/ 30 h 31"/>
                <a:gd name="T40" fmla="*/ 141 w 150"/>
                <a:gd name="T41" fmla="*/ 29 h 31"/>
                <a:gd name="T42" fmla="*/ 144 w 150"/>
                <a:gd name="T43" fmla="*/ 28 h 31"/>
                <a:gd name="T44" fmla="*/ 146 w 150"/>
                <a:gd name="T45" fmla="*/ 26 h 31"/>
                <a:gd name="T46" fmla="*/ 148 w 150"/>
                <a:gd name="T47" fmla="*/ 24 h 31"/>
                <a:gd name="T48" fmla="*/ 149 w 150"/>
                <a:gd name="T49" fmla="*/ 22 h 31"/>
                <a:gd name="T50" fmla="*/ 150 w 150"/>
                <a:gd name="T51" fmla="*/ 19 h 31"/>
                <a:gd name="T52" fmla="*/ 150 w 150"/>
                <a:gd name="T53" fmla="*/ 16 h 31"/>
                <a:gd name="T54" fmla="*/ 150 w 150"/>
                <a:gd name="T55" fmla="*/ 13 h 31"/>
                <a:gd name="T56" fmla="*/ 149 w 150"/>
                <a:gd name="T57" fmla="*/ 10 h 31"/>
                <a:gd name="T58" fmla="*/ 148 w 150"/>
                <a:gd name="T59" fmla="*/ 8 h 31"/>
                <a:gd name="T60" fmla="*/ 146 w 150"/>
                <a:gd name="T61" fmla="*/ 6 h 31"/>
                <a:gd name="T62" fmla="*/ 144 w 150"/>
                <a:gd name="T63" fmla="*/ 4 h 31"/>
                <a:gd name="T64" fmla="*/ 141 w 150"/>
                <a:gd name="T65" fmla="*/ 2 h 31"/>
                <a:gd name="T66" fmla="*/ 138 w 150"/>
                <a:gd name="T67" fmla="*/ 1 h 31"/>
                <a:gd name="T68" fmla="*/ 135 w 150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1">
                  <a:moveTo>
                    <a:pt x="13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1"/>
                  </a:lnTo>
                  <a:lnTo>
                    <a:pt x="135" y="31"/>
                  </a:lnTo>
                  <a:lnTo>
                    <a:pt x="138" y="30"/>
                  </a:lnTo>
                  <a:lnTo>
                    <a:pt x="141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1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91" name="Freeform 222">
              <a:extLst>
                <a:ext uri="{FF2B5EF4-FFF2-40B4-BE49-F238E27FC236}">
                  <a16:creationId xmlns:a16="http://schemas.microsoft.com/office/drawing/2014/main" id="{71C3B3B5-A844-0B75-F70C-1ECB40C72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063" y="27193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10 w 90"/>
                <a:gd name="T31" fmla="*/ 29 h 30"/>
                <a:gd name="T32" fmla="*/ 12 w 90"/>
                <a:gd name="T33" fmla="*/ 29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29 h 30"/>
                <a:gd name="T40" fmla="*/ 81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1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92" name="Freeform 223">
              <a:extLst>
                <a:ext uri="{FF2B5EF4-FFF2-40B4-BE49-F238E27FC236}">
                  <a16:creationId xmlns:a16="http://schemas.microsoft.com/office/drawing/2014/main" id="{1016A320-E5CB-DD87-E163-7B462D9E1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4588" y="27384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10 w 60"/>
                <a:gd name="T7" fmla="*/ 1 h 30"/>
                <a:gd name="T8" fmla="*/ 6 w 60"/>
                <a:gd name="T9" fmla="*/ 3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9 h 30"/>
                <a:gd name="T22" fmla="*/ 1 w 60"/>
                <a:gd name="T23" fmla="*/ 21 h 30"/>
                <a:gd name="T24" fmla="*/ 2 w 60"/>
                <a:gd name="T25" fmla="*/ 24 h 30"/>
                <a:gd name="T26" fmla="*/ 4 w 60"/>
                <a:gd name="T27" fmla="*/ 26 h 30"/>
                <a:gd name="T28" fmla="*/ 6 w 60"/>
                <a:gd name="T29" fmla="*/ 27 h 30"/>
                <a:gd name="T30" fmla="*/ 10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30 h 30"/>
                <a:gd name="T40" fmla="*/ 51 w 60"/>
                <a:gd name="T41" fmla="*/ 29 h 30"/>
                <a:gd name="T42" fmla="*/ 54 w 60"/>
                <a:gd name="T43" fmla="*/ 27 h 30"/>
                <a:gd name="T44" fmla="*/ 56 w 60"/>
                <a:gd name="T45" fmla="*/ 26 h 30"/>
                <a:gd name="T46" fmla="*/ 58 w 60"/>
                <a:gd name="T47" fmla="*/ 24 h 30"/>
                <a:gd name="T48" fmla="*/ 59 w 60"/>
                <a:gd name="T49" fmla="*/ 21 h 30"/>
                <a:gd name="T50" fmla="*/ 60 w 60"/>
                <a:gd name="T51" fmla="*/ 19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8 w 60"/>
                <a:gd name="T59" fmla="*/ 7 h 30"/>
                <a:gd name="T60" fmla="*/ 56 w 60"/>
                <a:gd name="T61" fmla="*/ 5 h 30"/>
                <a:gd name="T62" fmla="*/ 54 w 60"/>
                <a:gd name="T63" fmla="*/ 3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1" y="29"/>
                  </a:lnTo>
                  <a:lnTo>
                    <a:pt x="54" y="27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8" y="7"/>
                  </a:lnTo>
                  <a:lnTo>
                    <a:pt x="56" y="5"/>
                  </a:lnTo>
                  <a:lnTo>
                    <a:pt x="54" y="3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93" name="Freeform 224">
              <a:extLst>
                <a:ext uri="{FF2B5EF4-FFF2-40B4-BE49-F238E27FC236}">
                  <a16:creationId xmlns:a16="http://schemas.microsoft.com/office/drawing/2014/main" id="{1360AAEC-8562-3090-ADE7-CFB01DA8D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0775" y="2536825"/>
              <a:ext cx="115888" cy="114300"/>
            </a:xfrm>
            <a:custGeom>
              <a:avLst/>
              <a:gdLst>
                <a:gd name="T0" fmla="*/ 211 w 361"/>
                <a:gd name="T1" fmla="*/ 34 h 361"/>
                <a:gd name="T2" fmla="*/ 252 w 361"/>
                <a:gd name="T3" fmla="*/ 49 h 361"/>
                <a:gd name="T4" fmla="*/ 286 w 361"/>
                <a:gd name="T5" fmla="*/ 75 h 361"/>
                <a:gd name="T6" fmla="*/ 313 w 361"/>
                <a:gd name="T7" fmla="*/ 110 h 361"/>
                <a:gd name="T8" fmla="*/ 328 w 361"/>
                <a:gd name="T9" fmla="*/ 151 h 361"/>
                <a:gd name="T10" fmla="*/ 330 w 361"/>
                <a:gd name="T11" fmla="*/ 196 h 361"/>
                <a:gd name="T12" fmla="*/ 319 w 361"/>
                <a:gd name="T13" fmla="*/ 239 h 361"/>
                <a:gd name="T14" fmla="*/ 297 w 361"/>
                <a:gd name="T15" fmla="*/ 277 h 361"/>
                <a:gd name="T16" fmla="*/ 265 w 361"/>
                <a:gd name="T17" fmla="*/ 306 h 361"/>
                <a:gd name="T18" fmla="*/ 225 w 361"/>
                <a:gd name="T19" fmla="*/ 325 h 361"/>
                <a:gd name="T20" fmla="*/ 180 w 361"/>
                <a:gd name="T21" fmla="*/ 331 h 361"/>
                <a:gd name="T22" fmla="*/ 136 w 361"/>
                <a:gd name="T23" fmla="*/ 325 h 361"/>
                <a:gd name="T24" fmla="*/ 96 w 361"/>
                <a:gd name="T25" fmla="*/ 306 h 361"/>
                <a:gd name="T26" fmla="*/ 64 w 361"/>
                <a:gd name="T27" fmla="*/ 277 h 361"/>
                <a:gd name="T28" fmla="*/ 42 w 361"/>
                <a:gd name="T29" fmla="*/ 239 h 361"/>
                <a:gd name="T30" fmla="*/ 31 w 361"/>
                <a:gd name="T31" fmla="*/ 196 h 361"/>
                <a:gd name="T32" fmla="*/ 33 w 361"/>
                <a:gd name="T33" fmla="*/ 151 h 361"/>
                <a:gd name="T34" fmla="*/ 48 w 361"/>
                <a:gd name="T35" fmla="*/ 110 h 361"/>
                <a:gd name="T36" fmla="*/ 74 w 361"/>
                <a:gd name="T37" fmla="*/ 75 h 361"/>
                <a:gd name="T38" fmla="*/ 108 w 361"/>
                <a:gd name="T39" fmla="*/ 49 h 361"/>
                <a:gd name="T40" fmla="*/ 150 w 361"/>
                <a:gd name="T41" fmla="*/ 34 h 361"/>
                <a:gd name="T42" fmla="*/ 180 w 361"/>
                <a:gd name="T43" fmla="*/ 30 h 361"/>
                <a:gd name="T44" fmla="*/ 216 w 361"/>
                <a:gd name="T45" fmla="*/ 358 h 361"/>
                <a:gd name="T46" fmla="*/ 267 w 361"/>
                <a:gd name="T47" fmla="*/ 340 h 361"/>
                <a:gd name="T48" fmla="*/ 307 w 361"/>
                <a:gd name="T49" fmla="*/ 309 h 361"/>
                <a:gd name="T50" fmla="*/ 339 w 361"/>
                <a:gd name="T51" fmla="*/ 267 h 361"/>
                <a:gd name="T52" fmla="*/ 357 w 361"/>
                <a:gd name="T53" fmla="*/ 218 h 361"/>
                <a:gd name="T54" fmla="*/ 360 w 361"/>
                <a:gd name="T55" fmla="*/ 163 h 361"/>
                <a:gd name="T56" fmla="*/ 346 w 361"/>
                <a:gd name="T57" fmla="*/ 111 h 361"/>
                <a:gd name="T58" fmla="*/ 319 w 361"/>
                <a:gd name="T59" fmla="*/ 67 h 361"/>
                <a:gd name="T60" fmla="*/ 281 w 361"/>
                <a:gd name="T61" fmla="*/ 31 h 361"/>
                <a:gd name="T62" fmla="*/ 234 w 361"/>
                <a:gd name="T63" fmla="*/ 9 h 361"/>
                <a:gd name="T64" fmla="*/ 180 w 361"/>
                <a:gd name="T65" fmla="*/ 0 h 361"/>
                <a:gd name="T66" fmla="*/ 126 w 361"/>
                <a:gd name="T67" fmla="*/ 9 h 361"/>
                <a:gd name="T68" fmla="*/ 79 w 361"/>
                <a:gd name="T69" fmla="*/ 31 h 361"/>
                <a:gd name="T70" fmla="*/ 41 w 361"/>
                <a:gd name="T71" fmla="*/ 67 h 361"/>
                <a:gd name="T72" fmla="*/ 14 w 361"/>
                <a:gd name="T73" fmla="*/ 111 h 361"/>
                <a:gd name="T74" fmla="*/ 1 w 361"/>
                <a:gd name="T75" fmla="*/ 163 h 361"/>
                <a:gd name="T76" fmla="*/ 3 w 361"/>
                <a:gd name="T77" fmla="*/ 218 h 361"/>
                <a:gd name="T78" fmla="*/ 21 w 361"/>
                <a:gd name="T79" fmla="*/ 267 h 361"/>
                <a:gd name="T80" fmla="*/ 53 w 361"/>
                <a:gd name="T81" fmla="*/ 309 h 361"/>
                <a:gd name="T82" fmla="*/ 94 w 361"/>
                <a:gd name="T83" fmla="*/ 340 h 361"/>
                <a:gd name="T84" fmla="*/ 144 w 361"/>
                <a:gd name="T85" fmla="*/ 3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1" h="361">
                  <a:moveTo>
                    <a:pt x="180" y="30"/>
                  </a:moveTo>
                  <a:lnTo>
                    <a:pt x="196" y="31"/>
                  </a:lnTo>
                  <a:lnTo>
                    <a:pt x="211" y="34"/>
                  </a:lnTo>
                  <a:lnTo>
                    <a:pt x="225" y="38"/>
                  </a:lnTo>
                  <a:lnTo>
                    <a:pt x="239" y="42"/>
                  </a:lnTo>
                  <a:lnTo>
                    <a:pt x="252" y="49"/>
                  </a:lnTo>
                  <a:lnTo>
                    <a:pt x="265" y="56"/>
                  </a:lnTo>
                  <a:lnTo>
                    <a:pt x="276" y="65"/>
                  </a:lnTo>
                  <a:lnTo>
                    <a:pt x="286" y="75"/>
                  </a:lnTo>
                  <a:lnTo>
                    <a:pt x="297" y="85"/>
                  </a:lnTo>
                  <a:lnTo>
                    <a:pt x="305" y="97"/>
                  </a:lnTo>
                  <a:lnTo>
                    <a:pt x="313" y="110"/>
                  </a:lnTo>
                  <a:lnTo>
                    <a:pt x="319" y="122"/>
                  </a:lnTo>
                  <a:lnTo>
                    <a:pt x="324" y="136"/>
                  </a:lnTo>
                  <a:lnTo>
                    <a:pt x="328" y="151"/>
                  </a:lnTo>
                  <a:lnTo>
                    <a:pt x="330" y="165"/>
                  </a:lnTo>
                  <a:lnTo>
                    <a:pt x="331" y="181"/>
                  </a:lnTo>
                  <a:lnTo>
                    <a:pt x="330" y="196"/>
                  </a:lnTo>
                  <a:lnTo>
                    <a:pt x="328" y="211"/>
                  </a:lnTo>
                  <a:lnTo>
                    <a:pt x="324" y="225"/>
                  </a:lnTo>
                  <a:lnTo>
                    <a:pt x="319" y="239"/>
                  </a:lnTo>
                  <a:lnTo>
                    <a:pt x="313" y="253"/>
                  </a:lnTo>
                  <a:lnTo>
                    <a:pt x="305" y="265"/>
                  </a:lnTo>
                  <a:lnTo>
                    <a:pt x="297" y="277"/>
                  </a:lnTo>
                  <a:lnTo>
                    <a:pt x="286" y="287"/>
                  </a:lnTo>
                  <a:lnTo>
                    <a:pt x="276" y="297"/>
                  </a:lnTo>
                  <a:lnTo>
                    <a:pt x="265" y="306"/>
                  </a:lnTo>
                  <a:lnTo>
                    <a:pt x="252" y="313"/>
                  </a:lnTo>
                  <a:lnTo>
                    <a:pt x="239" y="320"/>
                  </a:lnTo>
                  <a:lnTo>
                    <a:pt x="225" y="325"/>
                  </a:lnTo>
                  <a:lnTo>
                    <a:pt x="211" y="328"/>
                  </a:lnTo>
                  <a:lnTo>
                    <a:pt x="196" y="330"/>
                  </a:lnTo>
                  <a:lnTo>
                    <a:pt x="180" y="331"/>
                  </a:lnTo>
                  <a:lnTo>
                    <a:pt x="165" y="330"/>
                  </a:lnTo>
                  <a:lnTo>
                    <a:pt x="150" y="328"/>
                  </a:lnTo>
                  <a:lnTo>
                    <a:pt x="136" y="325"/>
                  </a:lnTo>
                  <a:lnTo>
                    <a:pt x="122" y="320"/>
                  </a:lnTo>
                  <a:lnTo>
                    <a:pt x="108" y="313"/>
                  </a:lnTo>
                  <a:lnTo>
                    <a:pt x="96" y="306"/>
                  </a:lnTo>
                  <a:lnTo>
                    <a:pt x="85" y="297"/>
                  </a:lnTo>
                  <a:lnTo>
                    <a:pt x="74" y="287"/>
                  </a:lnTo>
                  <a:lnTo>
                    <a:pt x="64" y="277"/>
                  </a:lnTo>
                  <a:lnTo>
                    <a:pt x="56" y="265"/>
                  </a:lnTo>
                  <a:lnTo>
                    <a:pt x="48" y="253"/>
                  </a:lnTo>
                  <a:lnTo>
                    <a:pt x="42" y="239"/>
                  </a:lnTo>
                  <a:lnTo>
                    <a:pt x="36" y="225"/>
                  </a:lnTo>
                  <a:lnTo>
                    <a:pt x="33" y="211"/>
                  </a:lnTo>
                  <a:lnTo>
                    <a:pt x="31" y="196"/>
                  </a:lnTo>
                  <a:lnTo>
                    <a:pt x="30" y="181"/>
                  </a:lnTo>
                  <a:lnTo>
                    <a:pt x="31" y="165"/>
                  </a:lnTo>
                  <a:lnTo>
                    <a:pt x="33" y="151"/>
                  </a:lnTo>
                  <a:lnTo>
                    <a:pt x="36" y="136"/>
                  </a:lnTo>
                  <a:lnTo>
                    <a:pt x="42" y="122"/>
                  </a:lnTo>
                  <a:lnTo>
                    <a:pt x="48" y="110"/>
                  </a:lnTo>
                  <a:lnTo>
                    <a:pt x="56" y="97"/>
                  </a:lnTo>
                  <a:lnTo>
                    <a:pt x="64" y="86"/>
                  </a:lnTo>
                  <a:lnTo>
                    <a:pt x="74" y="75"/>
                  </a:lnTo>
                  <a:lnTo>
                    <a:pt x="85" y="65"/>
                  </a:lnTo>
                  <a:lnTo>
                    <a:pt x="96" y="56"/>
                  </a:lnTo>
                  <a:lnTo>
                    <a:pt x="108" y="49"/>
                  </a:lnTo>
                  <a:lnTo>
                    <a:pt x="122" y="42"/>
                  </a:lnTo>
                  <a:lnTo>
                    <a:pt x="136" y="38"/>
                  </a:lnTo>
                  <a:lnTo>
                    <a:pt x="150" y="34"/>
                  </a:lnTo>
                  <a:lnTo>
                    <a:pt x="165" y="31"/>
                  </a:lnTo>
                  <a:lnTo>
                    <a:pt x="180" y="30"/>
                  </a:lnTo>
                  <a:lnTo>
                    <a:pt x="180" y="30"/>
                  </a:lnTo>
                  <a:close/>
                  <a:moveTo>
                    <a:pt x="180" y="361"/>
                  </a:moveTo>
                  <a:lnTo>
                    <a:pt x="199" y="360"/>
                  </a:lnTo>
                  <a:lnTo>
                    <a:pt x="216" y="358"/>
                  </a:lnTo>
                  <a:lnTo>
                    <a:pt x="234" y="354"/>
                  </a:lnTo>
                  <a:lnTo>
                    <a:pt x="251" y="347"/>
                  </a:lnTo>
                  <a:lnTo>
                    <a:pt x="267" y="340"/>
                  </a:lnTo>
                  <a:lnTo>
                    <a:pt x="281" y="330"/>
                  </a:lnTo>
                  <a:lnTo>
                    <a:pt x="295" y="321"/>
                  </a:lnTo>
                  <a:lnTo>
                    <a:pt x="307" y="309"/>
                  </a:lnTo>
                  <a:lnTo>
                    <a:pt x="319" y="296"/>
                  </a:lnTo>
                  <a:lnTo>
                    <a:pt x="330" y="282"/>
                  </a:lnTo>
                  <a:lnTo>
                    <a:pt x="339" y="267"/>
                  </a:lnTo>
                  <a:lnTo>
                    <a:pt x="346" y="251"/>
                  </a:lnTo>
                  <a:lnTo>
                    <a:pt x="352" y="235"/>
                  </a:lnTo>
                  <a:lnTo>
                    <a:pt x="357" y="218"/>
                  </a:lnTo>
                  <a:lnTo>
                    <a:pt x="360" y="200"/>
                  </a:lnTo>
                  <a:lnTo>
                    <a:pt x="361" y="181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19" y="67"/>
                  </a:lnTo>
                  <a:lnTo>
                    <a:pt x="307" y="54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7" y="23"/>
                  </a:lnTo>
                  <a:lnTo>
                    <a:pt x="251" y="15"/>
                  </a:lnTo>
                  <a:lnTo>
                    <a:pt x="234" y="9"/>
                  </a:lnTo>
                  <a:lnTo>
                    <a:pt x="216" y="5"/>
                  </a:lnTo>
                  <a:lnTo>
                    <a:pt x="199" y="1"/>
                  </a:lnTo>
                  <a:lnTo>
                    <a:pt x="180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6" y="9"/>
                  </a:lnTo>
                  <a:lnTo>
                    <a:pt x="110" y="15"/>
                  </a:lnTo>
                  <a:lnTo>
                    <a:pt x="94" y="23"/>
                  </a:lnTo>
                  <a:lnTo>
                    <a:pt x="79" y="31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1" y="67"/>
                  </a:lnTo>
                  <a:lnTo>
                    <a:pt x="31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1"/>
                  </a:lnTo>
                  <a:lnTo>
                    <a:pt x="1" y="200"/>
                  </a:lnTo>
                  <a:lnTo>
                    <a:pt x="3" y="218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1" y="267"/>
                  </a:lnTo>
                  <a:lnTo>
                    <a:pt x="31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5" y="321"/>
                  </a:lnTo>
                  <a:lnTo>
                    <a:pt x="79" y="330"/>
                  </a:lnTo>
                  <a:lnTo>
                    <a:pt x="94" y="340"/>
                  </a:lnTo>
                  <a:lnTo>
                    <a:pt x="110" y="347"/>
                  </a:lnTo>
                  <a:lnTo>
                    <a:pt x="126" y="354"/>
                  </a:lnTo>
                  <a:lnTo>
                    <a:pt x="144" y="358"/>
                  </a:lnTo>
                  <a:lnTo>
                    <a:pt x="162" y="360"/>
                  </a:lnTo>
                  <a:lnTo>
                    <a:pt x="180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DA33B00-1843-00FA-C07A-AD2CFF0A6CC8}"/>
              </a:ext>
            </a:extLst>
          </p:cNvPr>
          <p:cNvGrpSpPr/>
          <p:nvPr/>
        </p:nvGrpSpPr>
        <p:grpSpPr>
          <a:xfrm>
            <a:off x="7010196" y="5718318"/>
            <a:ext cx="285750" cy="285750"/>
            <a:chOff x="9882188" y="1354138"/>
            <a:chExt cx="285750" cy="285750"/>
          </a:xfrm>
          <a:solidFill>
            <a:srgbClr val="3B3939"/>
          </a:solidFill>
        </p:grpSpPr>
        <p:sp>
          <p:nvSpPr>
            <p:cNvPr id="95" name="Freeform 186">
              <a:extLst>
                <a:ext uri="{FF2B5EF4-FFF2-40B4-BE49-F238E27FC236}">
                  <a16:creationId xmlns:a16="http://schemas.microsoft.com/office/drawing/2014/main" id="{E90AD729-906C-67EC-DEE8-C728268BF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96" name="Freeform 187">
              <a:extLst>
                <a:ext uri="{FF2B5EF4-FFF2-40B4-BE49-F238E27FC236}">
                  <a16:creationId xmlns:a16="http://schemas.microsoft.com/office/drawing/2014/main" id="{6AB0F7D8-5507-23A8-C3BA-4E8847459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97" name="Freeform 188">
              <a:extLst>
                <a:ext uri="{FF2B5EF4-FFF2-40B4-BE49-F238E27FC236}">
                  <a16:creationId xmlns:a16="http://schemas.microsoft.com/office/drawing/2014/main" id="{A6E5858D-FD65-659A-54E4-536FF8863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98" name="Freeform 189">
              <a:extLst>
                <a:ext uri="{FF2B5EF4-FFF2-40B4-BE49-F238E27FC236}">
                  <a16:creationId xmlns:a16="http://schemas.microsoft.com/office/drawing/2014/main" id="{F9CD78A0-261D-EB87-3925-C4C4D2D4D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99" name="Freeform 190">
              <a:extLst>
                <a:ext uri="{FF2B5EF4-FFF2-40B4-BE49-F238E27FC236}">
                  <a16:creationId xmlns:a16="http://schemas.microsoft.com/office/drawing/2014/main" id="{12BD04C9-5A95-B1BC-FBBE-0360FF5AEE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00" name="Freeform 191">
              <a:extLst>
                <a:ext uri="{FF2B5EF4-FFF2-40B4-BE49-F238E27FC236}">
                  <a16:creationId xmlns:a16="http://schemas.microsoft.com/office/drawing/2014/main" id="{398A3E73-A6E0-22EB-68F3-58E69F9ED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174799E-3490-9E03-6C32-10A424A9F232}"/>
              </a:ext>
            </a:extLst>
          </p:cNvPr>
          <p:cNvGrpSpPr/>
          <p:nvPr/>
        </p:nvGrpSpPr>
        <p:grpSpPr>
          <a:xfrm>
            <a:off x="5630154" y="3776385"/>
            <a:ext cx="574852" cy="405594"/>
            <a:chOff x="8164513" y="2584450"/>
            <a:chExt cx="285750" cy="201613"/>
          </a:xfrm>
        </p:grpSpPr>
        <p:sp>
          <p:nvSpPr>
            <p:cNvPr id="102" name="Freeform 106">
              <a:extLst>
                <a:ext uri="{FF2B5EF4-FFF2-40B4-BE49-F238E27FC236}">
                  <a16:creationId xmlns:a16="http://schemas.microsoft.com/office/drawing/2014/main" id="{A61CAE7C-E1FC-E73B-04C5-82AF3E871E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4513" y="2584450"/>
              <a:ext cx="285750" cy="201613"/>
            </a:xfrm>
            <a:custGeom>
              <a:avLst/>
              <a:gdLst>
                <a:gd name="T0" fmla="*/ 806 w 902"/>
                <a:gd name="T1" fmla="*/ 508 h 631"/>
                <a:gd name="T2" fmla="*/ 872 w 902"/>
                <a:gd name="T3" fmla="*/ 481 h 631"/>
                <a:gd name="T4" fmla="*/ 709 w 902"/>
                <a:gd name="T5" fmla="*/ 600 h 631"/>
                <a:gd name="T6" fmla="*/ 683 w 902"/>
                <a:gd name="T7" fmla="*/ 587 h 631"/>
                <a:gd name="T8" fmla="*/ 666 w 902"/>
                <a:gd name="T9" fmla="*/ 565 h 631"/>
                <a:gd name="T10" fmla="*/ 661 w 902"/>
                <a:gd name="T11" fmla="*/ 535 h 631"/>
                <a:gd name="T12" fmla="*/ 672 w 902"/>
                <a:gd name="T13" fmla="*/ 508 h 631"/>
                <a:gd name="T14" fmla="*/ 693 w 902"/>
                <a:gd name="T15" fmla="*/ 489 h 631"/>
                <a:gd name="T16" fmla="*/ 721 w 902"/>
                <a:gd name="T17" fmla="*/ 481 h 631"/>
                <a:gd name="T18" fmla="*/ 750 w 902"/>
                <a:gd name="T19" fmla="*/ 489 h 631"/>
                <a:gd name="T20" fmla="*/ 771 w 902"/>
                <a:gd name="T21" fmla="*/ 508 h 631"/>
                <a:gd name="T22" fmla="*/ 781 w 902"/>
                <a:gd name="T23" fmla="*/ 535 h 631"/>
                <a:gd name="T24" fmla="*/ 777 w 902"/>
                <a:gd name="T25" fmla="*/ 565 h 631"/>
                <a:gd name="T26" fmla="*/ 760 w 902"/>
                <a:gd name="T27" fmla="*/ 587 h 631"/>
                <a:gd name="T28" fmla="*/ 734 w 902"/>
                <a:gd name="T29" fmla="*/ 600 h 631"/>
                <a:gd name="T30" fmla="*/ 269 w 902"/>
                <a:gd name="T31" fmla="*/ 524 h 631"/>
                <a:gd name="T32" fmla="*/ 252 w 902"/>
                <a:gd name="T33" fmla="*/ 488 h 631"/>
                <a:gd name="T34" fmla="*/ 641 w 902"/>
                <a:gd name="T35" fmla="*/ 501 h 631"/>
                <a:gd name="T36" fmla="*/ 631 w 902"/>
                <a:gd name="T37" fmla="*/ 541 h 631"/>
                <a:gd name="T38" fmla="*/ 162 w 902"/>
                <a:gd name="T39" fmla="*/ 599 h 631"/>
                <a:gd name="T40" fmla="*/ 137 w 902"/>
                <a:gd name="T41" fmla="*/ 584 h 631"/>
                <a:gd name="T42" fmla="*/ 122 w 902"/>
                <a:gd name="T43" fmla="*/ 560 h 631"/>
                <a:gd name="T44" fmla="*/ 121 w 902"/>
                <a:gd name="T45" fmla="*/ 530 h 631"/>
                <a:gd name="T46" fmla="*/ 134 w 902"/>
                <a:gd name="T47" fmla="*/ 503 h 631"/>
                <a:gd name="T48" fmla="*/ 156 w 902"/>
                <a:gd name="T49" fmla="*/ 486 h 631"/>
                <a:gd name="T50" fmla="*/ 186 w 902"/>
                <a:gd name="T51" fmla="*/ 481 h 631"/>
                <a:gd name="T52" fmla="*/ 213 w 902"/>
                <a:gd name="T53" fmla="*/ 491 h 631"/>
                <a:gd name="T54" fmla="*/ 232 w 902"/>
                <a:gd name="T55" fmla="*/ 512 h 631"/>
                <a:gd name="T56" fmla="*/ 240 w 902"/>
                <a:gd name="T57" fmla="*/ 541 h 631"/>
                <a:gd name="T58" fmla="*/ 232 w 902"/>
                <a:gd name="T59" fmla="*/ 570 h 631"/>
                <a:gd name="T60" fmla="*/ 213 w 902"/>
                <a:gd name="T61" fmla="*/ 591 h 631"/>
                <a:gd name="T62" fmla="*/ 186 w 902"/>
                <a:gd name="T63" fmla="*/ 601 h 631"/>
                <a:gd name="T64" fmla="*/ 108 w 902"/>
                <a:gd name="T65" fmla="*/ 488 h 631"/>
                <a:gd name="T66" fmla="*/ 91 w 902"/>
                <a:gd name="T67" fmla="*/ 524 h 631"/>
                <a:gd name="T68" fmla="*/ 117 w 902"/>
                <a:gd name="T69" fmla="*/ 265 h 631"/>
                <a:gd name="T70" fmla="*/ 30 w 902"/>
                <a:gd name="T71" fmla="*/ 451 h 631"/>
                <a:gd name="T72" fmla="*/ 872 w 902"/>
                <a:gd name="T73" fmla="*/ 451 h 631"/>
                <a:gd name="T74" fmla="*/ 887 w 902"/>
                <a:gd name="T75" fmla="*/ 0 h 631"/>
                <a:gd name="T76" fmla="*/ 365 w 902"/>
                <a:gd name="T77" fmla="*/ 5 h 631"/>
                <a:gd name="T78" fmla="*/ 361 w 902"/>
                <a:gd name="T79" fmla="*/ 90 h 631"/>
                <a:gd name="T80" fmla="*/ 182 w 902"/>
                <a:gd name="T81" fmla="*/ 98 h 631"/>
                <a:gd name="T82" fmla="*/ 0 w 902"/>
                <a:gd name="T83" fmla="*/ 327 h 631"/>
                <a:gd name="T84" fmla="*/ 2 w 902"/>
                <a:gd name="T85" fmla="*/ 565 h 631"/>
                <a:gd name="T86" fmla="*/ 15 w 902"/>
                <a:gd name="T87" fmla="*/ 571 h 631"/>
                <a:gd name="T88" fmla="*/ 128 w 902"/>
                <a:gd name="T89" fmla="*/ 614 h 631"/>
                <a:gd name="T90" fmla="*/ 172 w 902"/>
                <a:gd name="T91" fmla="*/ 631 h 631"/>
                <a:gd name="T92" fmla="*/ 208 w 902"/>
                <a:gd name="T93" fmla="*/ 627 h 631"/>
                <a:gd name="T94" fmla="*/ 259 w 902"/>
                <a:gd name="T95" fmla="*/ 584 h 631"/>
                <a:gd name="T96" fmla="*/ 659 w 902"/>
                <a:gd name="T97" fmla="*/ 606 h 631"/>
                <a:gd name="T98" fmla="*/ 707 w 902"/>
                <a:gd name="T99" fmla="*/ 630 h 631"/>
                <a:gd name="T100" fmla="*/ 742 w 902"/>
                <a:gd name="T101" fmla="*/ 629 h 631"/>
                <a:gd name="T102" fmla="*/ 793 w 902"/>
                <a:gd name="T103" fmla="*/ 596 h 631"/>
                <a:gd name="T104" fmla="*/ 892 w 902"/>
                <a:gd name="T105" fmla="*/ 570 h 631"/>
                <a:gd name="T106" fmla="*/ 901 w 902"/>
                <a:gd name="T107" fmla="*/ 560 h 631"/>
                <a:gd name="T108" fmla="*/ 899 w 902"/>
                <a:gd name="T109" fmla="*/ 7 h 631"/>
                <a:gd name="T110" fmla="*/ 887 w 902"/>
                <a:gd name="T111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631">
                  <a:moveTo>
                    <a:pt x="812" y="541"/>
                  </a:moveTo>
                  <a:lnTo>
                    <a:pt x="811" y="533"/>
                  </a:lnTo>
                  <a:lnTo>
                    <a:pt x="810" y="524"/>
                  </a:lnTo>
                  <a:lnTo>
                    <a:pt x="808" y="517"/>
                  </a:lnTo>
                  <a:lnTo>
                    <a:pt x="806" y="508"/>
                  </a:lnTo>
                  <a:lnTo>
                    <a:pt x="802" y="501"/>
                  </a:lnTo>
                  <a:lnTo>
                    <a:pt x="798" y="494"/>
                  </a:lnTo>
                  <a:lnTo>
                    <a:pt x="794" y="488"/>
                  </a:lnTo>
                  <a:lnTo>
                    <a:pt x="788" y="481"/>
                  </a:lnTo>
                  <a:lnTo>
                    <a:pt x="872" y="481"/>
                  </a:lnTo>
                  <a:lnTo>
                    <a:pt x="872" y="541"/>
                  </a:lnTo>
                  <a:lnTo>
                    <a:pt x="812" y="541"/>
                  </a:lnTo>
                  <a:close/>
                  <a:moveTo>
                    <a:pt x="721" y="601"/>
                  </a:moveTo>
                  <a:lnTo>
                    <a:pt x="716" y="601"/>
                  </a:lnTo>
                  <a:lnTo>
                    <a:pt x="709" y="600"/>
                  </a:lnTo>
                  <a:lnTo>
                    <a:pt x="704" y="599"/>
                  </a:lnTo>
                  <a:lnTo>
                    <a:pt x="697" y="597"/>
                  </a:lnTo>
                  <a:lnTo>
                    <a:pt x="693" y="594"/>
                  </a:lnTo>
                  <a:lnTo>
                    <a:pt x="688" y="591"/>
                  </a:lnTo>
                  <a:lnTo>
                    <a:pt x="683" y="587"/>
                  </a:lnTo>
                  <a:lnTo>
                    <a:pt x="679" y="584"/>
                  </a:lnTo>
                  <a:lnTo>
                    <a:pt x="675" y="580"/>
                  </a:lnTo>
                  <a:lnTo>
                    <a:pt x="672" y="575"/>
                  </a:lnTo>
                  <a:lnTo>
                    <a:pt x="668" y="570"/>
                  </a:lnTo>
                  <a:lnTo>
                    <a:pt x="666" y="565"/>
                  </a:lnTo>
                  <a:lnTo>
                    <a:pt x="664" y="560"/>
                  </a:lnTo>
                  <a:lnTo>
                    <a:pt x="662" y="553"/>
                  </a:lnTo>
                  <a:lnTo>
                    <a:pt x="661" y="548"/>
                  </a:lnTo>
                  <a:lnTo>
                    <a:pt x="661" y="541"/>
                  </a:lnTo>
                  <a:lnTo>
                    <a:pt x="661" y="535"/>
                  </a:lnTo>
                  <a:lnTo>
                    <a:pt x="662" y="530"/>
                  </a:lnTo>
                  <a:lnTo>
                    <a:pt x="664" y="523"/>
                  </a:lnTo>
                  <a:lnTo>
                    <a:pt x="666" y="518"/>
                  </a:lnTo>
                  <a:lnTo>
                    <a:pt x="668" y="512"/>
                  </a:lnTo>
                  <a:lnTo>
                    <a:pt x="672" y="508"/>
                  </a:lnTo>
                  <a:lnTo>
                    <a:pt x="675" y="503"/>
                  </a:lnTo>
                  <a:lnTo>
                    <a:pt x="679" y="499"/>
                  </a:lnTo>
                  <a:lnTo>
                    <a:pt x="683" y="495"/>
                  </a:lnTo>
                  <a:lnTo>
                    <a:pt x="688" y="491"/>
                  </a:lnTo>
                  <a:lnTo>
                    <a:pt x="693" y="489"/>
                  </a:lnTo>
                  <a:lnTo>
                    <a:pt x="697" y="486"/>
                  </a:lnTo>
                  <a:lnTo>
                    <a:pt x="704" y="484"/>
                  </a:lnTo>
                  <a:lnTo>
                    <a:pt x="709" y="482"/>
                  </a:lnTo>
                  <a:lnTo>
                    <a:pt x="716" y="481"/>
                  </a:lnTo>
                  <a:lnTo>
                    <a:pt x="721" y="481"/>
                  </a:lnTo>
                  <a:lnTo>
                    <a:pt x="727" y="481"/>
                  </a:lnTo>
                  <a:lnTo>
                    <a:pt x="734" y="482"/>
                  </a:lnTo>
                  <a:lnTo>
                    <a:pt x="739" y="484"/>
                  </a:lnTo>
                  <a:lnTo>
                    <a:pt x="745" y="486"/>
                  </a:lnTo>
                  <a:lnTo>
                    <a:pt x="750" y="489"/>
                  </a:lnTo>
                  <a:lnTo>
                    <a:pt x="755" y="491"/>
                  </a:lnTo>
                  <a:lnTo>
                    <a:pt x="760" y="495"/>
                  </a:lnTo>
                  <a:lnTo>
                    <a:pt x="764" y="499"/>
                  </a:lnTo>
                  <a:lnTo>
                    <a:pt x="768" y="503"/>
                  </a:lnTo>
                  <a:lnTo>
                    <a:pt x="771" y="508"/>
                  </a:lnTo>
                  <a:lnTo>
                    <a:pt x="775" y="512"/>
                  </a:lnTo>
                  <a:lnTo>
                    <a:pt x="777" y="518"/>
                  </a:lnTo>
                  <a:lnTo>
                    <a:pt x="779" y="523"/>
                  </a:lnTo>
                  <a:lnTo>
                    <a:pt x="780" y="530"/>
                  </a:lnTo>
                  <a:lnTo>
                    <a:pt x="781" y="535"/>
                  </a:lnTo>
                  <a:lnTo>
                    <a:pt x="781" y="541"/>
                  </a:lnTo>
                  <a:lnTo>
                    <a:pt x="781" y="548"/>
                  </a:lnTo>
                  <a:lnTo>
                    <a:pt x="780" y="553"/>
                  </a:lnTo>
                  <a:lnTo>
                    <a:pt x="779" y="560"/>
                  </a:lnTo>
                  <a:lnTo>
                    <a:pt x="777" y="565"/>
                  </a:lnTo>
                  <a:lnTo>
                    <a:pt x="775" y="570"/>
                  </a:lnTo>
                  <a:lnTo>
                    <a:pt x="771" y="575"/>
                  </a:lnTo>
                  <a:lnTo>
                    <a:pt x="768" y="580"/>
                  </a:lnTo>
                  <a:lnTo>
                    <a:pt x="764" y="584"/>
                  </a:lnTo>
                  <a:lnTo>
                    <a:pt x="760" y="587"/>
                  </a:lnTo>
                  <a:lnTo>
                    <a:pt x="755" y="591"/>
                  </a:lnTo>
                  <a:lnTo>
                    <a:pt x="750" y="594"/>
                  </a:lnTo>
                  <a:lnTo>
                    <a:pt x="745" y="597"/>
                  </a:lnTo>
                  <a:lnTo>
                    <a:pt x="739" y="599"/>
                  </a:lnTo>
                  <a:lnTo>
                    <a:pt x="734" y="600"/>
                  </a:lnTo>
                  <a:lnTo>
                    <a:pt x="727" y="601"/>
                  </a:lnTo>
                  <a:lnTo>
                    <a:pt x="721" y="601"/>
                  </a:lnTo>
                  <a:close/>
                  <a:moveTo>
                    <a:pt x="270" y="541"/>
                  </a:moveTo>
                  <a:lnTo>
                    <a:pt x="270" y="533"/>
                  </a:lnTo>
                  <a:lnTo>
                    <a:pt x="269" y="524"/>
                  </a:lnTo>
                  <a:lnTo>
                    <a:pt x="267" y="517"/>
                  </a:lnTo>
                  <a:lnTo>
                    <a:pt x="264" y="508"/>
                  </a:lnTo>
                  <a:lnTo>
                    <a:pt x="260" y="501"/>
                  </a:lnTo>
                  <a:lnTo>
                    <a:pt x="257" y="494"/>
                  </a:lnTo>
                  <a:lnTo>
                    <a:pt x="252" y="488"/>
                  </a:lnTo>
                  <a:lnTo>
                    <a:pt x="247" y="481"/>
                  </a:lnTo>
                  <a:lnTo>
                    <a:pt x="655" y="481"/>
                  </a:lnTo>
                  <a:lnTo>
                    <a:pt x="649" y="488"/>
                  </a:lnTo>
                  <a:lnTo>
                    <a:pt x="645" y="494"/>
                  </a:lnTo>
                  <a:lnTo>
                    <a:pt x="641" y="501"/>
                  </a:lnTo>
                  <a:lnTo>
                    <a:pt x="637" y="508"/>
                  </a:lnTo>
                  <a:lnTo>
                    <a:pt x="634" y="517"/>
                  </a:lnTo>
                  <a:lnTo>
                    <a:pt x="633" y="524"/>
                  </a:lnTo>
                  <a:lnTo>
                    <a:pt x="632" y="533"/>
                  </a:lnTo>
                  <a:lnTo>
                    <a:pt x="631" y="541"/>
                  </a:lnTo>
                  <a:lnTo>
                    <a:pt x="270" y="541"/>
                  </a:lnTo>
                  <a:close/>
                  <a:moveTo>
                    <a:pt x="180" y="601"/>
                  </a:moveTo>
                  <a:lnTo>
                    <a:pt x="174" y="601"/>
                  </a:lnTo>
                  <a:lnTo>
                    <a:pt x="168" y="600"/>
                  </a:lnTo>
                  <a:lnTo>
                    <a:pt x="162" y="599"/>
                  </a:lnTo>
                  <a:lnTo>
                    <a:pt x="156" y="597"/>
                  </a:lnTo>
                  <a:lnTo>
                    <a:pt x="151" y="594"/>
                  </a:lnTo>
                  <a:lnTo>
                    <a:pt x="147" y="591"/>
                  </a:lnTo>
                  <a:lnTo>
                    <a:pt x="141" y="587"/>
                  </a:lnTo>
                  <a:lnTo>
                    <a:pt x="137" y="584"/>
                  </a:lnTo>
                  <a:lnTo>
                    <a:pt x="134" y="580"/>
                  </a:lnTo>
                  <a:lnTo>
                    <a:pt x="131" y="575"/>
                  </a:lnTo>
                  <a:lnTo>
                    <a:pt x="128" y="570"/>
                  </a:lnTo>
                  <a:lnTo>
                    <a:pt x="124" y="565"/>
                  </a:lnTo>
                  <a:lnTo>
                    <a:pt x="122" y="560"/>
                  </a:lnTo>
                  <a:lnTo>
                    <a:pt x="121" y="553"/>
                  </a:lnTo>
                  <a:lnTo>
                    <a:pt x="120" y="548"/>
                  </a:lnTo>
                  <a:lnTo>
                    <a:pt x="120" y="541"/>
                  </a:lnTo>
                  <a:lnTo>
                    <a:pt x="120" y="535"/>
                  </a:lnTo>
                  <a:lnTo>
                    <a:pt x="121" y="530"/>
                  </a:lnTo>
                  <a:lnTo>
                    <a:pt x="122" y="523"/>
                  </a:lnTo>
                  <a:lnTo>
                    <a:pt x="124" y="518"/>
                  </a:lnTo>
                  <a:lnTo>
                    <a:pt x="128" y="512"/>
                  </a:lnTo>
                  <a:lnTo>
                    <a:pt x="131" y="508"/>
                  </a:lnTo>
                  <a:lnTo>
                    <a:pt x="134" y="503"/>
                  </a:lnTo>
                  <a:lnTo>
                    <a:pt x="137" y="499"/>
                  </a:lnTo>
                  <a:lnTo>
                    <a:pt x="141" y="495"/>
                  </a:lnTo>
                  <a:lnTo>
                    <a:pt x="147" y="491"/>
                  </a:lnTo>
                  <a:lnTo>
                    <a:pt x="151" y="489"/>
                  </a:lnTo>
                  <a:lnTo>
                    <a:pt x="156" y="486"/>
                  </a:lnTo>
                  <a:lnTo>
                    <a:pt x="162" y="484"/>
                  </a:lnTo>
                  <a:lnTo>
                    <a:pt x="168" y="482"/>
                  </a:lnTo>
                  <a:lnTo>
                    <a:pt x="174" y="481"/>
                  </a:lnTo>
                  <a:lnTo>
                    <a:pt x="180" y="481"/>
                  </a:lnTo>
                  <a:lnTo>
                    <a:pt x="186" y="481"/>
                  </a:lnTo>
                  <a:lnTo>
                    <a:pt x="192" y="482"/>
                  </a:lnTo>
                  <a:lnTo>
                    <a:pt x="198" y="484"/>
                  </a:lnTo>
                  <a:lnTo>
                    <a:pt x="204" y="486"/>
                  </a:lnTo>
                  <a:lnTo>
                    <a:pt x="209" y="489"/>
                  </a:lnTo>
                  <a:lnTo>
                    <a:pt x="213" y="491"/>
                  </a:lnTo>
                  <a:lnTo>
                    <a:pt x="219" y="495"/>
                  </a:lnTo>
                  <a:lnTo>
                    <a:pt x="223" y="499"/>
                  </a:lnTo>
                  <a:lnTo>
                    <a:pt x="226" y="503"/>
                  </a:lnTo>
                  <a:lnTo>
                    <a:pt x="230" y="508"/>
                  </a:lnTo>
                  <a:lnTo>
                    <a:pt x="232" y="512"/>
                  </a:lnTo>
                  <a:lnTo>
                    <a:pt x="236" y="518"/>
                  </a:lnTo>
                  <a:lnTo>
                    <a:pt x="238" y="523"/>
                  </a:lnTo>
                  <a:lnTo>
                    <a:pt x="239" y="530"/>
                  </a:lnTo>
                  <a:lnTo>
                    <a:pt x="240" y="535"/>
                  </a:lnTo>
                  <a:lnTo>
                    <a:pt x="240" y="541"/>
                  </a:lnTo>
                  <a:lnTo>
                    <a:pt x="240" y="548"/>
                  </a:lnTo>
                  <a:lnTo>
                    <a:pt x="239" y="553"/>
                  </a:lnTo>
                  <a:lnTo>
                    <a:pt x="238" y="560"/>
                  </a:lnTo>
                  <a:lnTo>
                    <a:pt x="236" y="565"/>
                  </a:lnTo>
                  <a:lnTo>
                    <a:pt x="232" y="570"/>
                  </a:lnTo>
                  <a:lnTo>
                    <a:pt x="230" y="575"/>
                  </a:lnTo>
                  <a:lnTo>
                    <a:pt x="226" y="580"/>
                  </a:lnTo>
                  <a:lnTo>
                    <a:pt x="223" y="584"/>
                  </a:lnTo>
                  <a:lnTo>
                    <a:pt x="219" y="587"/>
                  </a:lnTo>
                  <a:lnTo>
                    <a:pt x="213" y="591"/>
                  </a:lnTo>
                  <a:lnTo>
                    <a:pt x="209" y="594"/>
                  </a:lnTo>
                  <a:lnTo>
                    <a:pt x="204" y="597"/>
                  </a:lnTo>
                  <a:lnTo>
                    <a:pt x="198" y="599"/>
                  </a:lnTo>
                  <a:lnTo>
                    <a:pt x="192" y="600"/>
                  </a:lnTo>
                  <a:lnTo>
                    <a:pt x="186" y="601"/>
                  </a:lnTo>
                  <a:lnTo>
                    <a:pt x="180" y="601"/>
                  </a:lnTo>
                  <a:close/>
                  <a:moveTo>
                    <a:pt x="30" y="541"/>
                  </a:moveTo>
                  <a:lnTo>
                    <a:pt x="30" y="481"/>
                  </a:lnTo>
                  <a:lnTo>
                    <a:pt x="113" y="481"/>
                  </a:lnTo>
                  <a:lnTo>
                    <a:pt x="108" y="488"/>
                  </a:lnTo>
                  <a:lnTo>
                    <a:pt x="103" y="494"/>
                  </a:lnTo>
                  <a:lnTo>
                    <a:pt x="100" y="501"/>
                  </a:lnTo>
                  <a:lnTo>
                    <a:pt x="96" y="508"/>
                  </a:lnTo>
                  <a:lnTo>
                    <a:pt x="93" y="517"/>
                  </a:lnTo>
                  <a:lnTo>
                    <a:pt x="91" y="524"/>
                  </a:lnTo>
                  <a:lnTo>
                    <a:pt x="90" y="533"/>
                  </a:lnTo>
                  <a:lnTo>
                    <a:pt x="90" y="541"/>
                  </a:lnTo>
                  <a:lnTo>
                    <a:pt x="30" y="541"/>
                  </a:lnTo>
                  <a:close/>
                  <a:moveTo>
                    <a:pt x="115" y="267"/>
                  </a:moveTo>
                  <a:lnTo>
                    <a:pt x="117" y="265"/>
                  </a:lnTo>
                  <a:lnTo>
                    <a:pt x="118" y="264"/>
                  </a:lnTo>
                  <a:lnTo>
                    <a:pt x="204" y="120"/>
                  </a:lnTo>
                  <a:lnTo>
                    <a:pt x="361" y="120"/>
                  </a:lnTo>
                  <a:lnTo>
                    <a:pt x="361" y="451"/>
                  </a:lnTo>
                  <a:lnTo>
                    <a:pt x="30" y="451"/>
                  </a:lnTo>
                  <a:lnTo>
                    <a:pt x="30" y="338"/>
                  </a:lnTo>
                  <a:lnTo>
                    <a:pt x="115" y="267"/>
                  </a:lnTo>
                  <a:close/>
                  <a:moveTo>
                    <a:pt x="391" y="30"/>
                  </a:moveTo>
                  <a:lnTo>
                    <a:pt x="872" y="30"/>
                  </a:lnTo>
                  <a:lnTo>
                    <a:pt x="872" y="451"/>
                  </a:lnTo>
                  <a:lnTo>
                    <a:pt x="391" y="451"/>
                  </a:lnTo>
                  <a:lnTo>
                    <a:pt x="391" y="105"/>
                  </a:lnTo>
                  <a:lnTo>
                    <a:pt x="391" y="90"/>
                  </a:lnTo>
                  <a:lnTo>
                    <a:pt x="391" y="30"/>
                  </a:lnTo>
                  <a:close/>
                  <a:moveTo>
                    <a:pt x="887" y="0"/>
                  </a:moveTo>
                  <a:lnTo>
                    <a:pt x="376" y="0"/>
                  </a:lnTo>
                  <a:lnTo>
                    <a:pt x="373" y="0"/>
                  </a:lnTo>
                  <a:lnTo>
                    <a:pt x="370" y="1"/>
                  </a:lnTo>
                  <a:lnTo>
                    <a:pt x="367" y="3"/>
                  </a:lnTo>
                  <a:lnTo>
                    <a:pt x="365" y="5"/>
                  </a:lnTo>
                  <a:lnTo>
                    <a:pt x="363" y="7"/>
                  </a:lnTo>
                  <a:lnTo>
                    <a:pt x="362" y="9"/>
                  </a:lnTo>
                  <a:lnTo>
                    <a:pt x="361" y="12"/>
                  </a:lnTo>
                  <a:lnTo>
                    <a:pt x="360" y="15"/>
                  </a:lnTo>
                  <a:lnTo>
                    <a:pt x="361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87" y="93"/>
                  </a:lnTo>
                  <a:lnTo>
                    <a:pt x="184" y="95"/>
                  </a:lnTo>
                  <a:lnTo>
                    <a:pt x="182" y="98"/>
                  </a:lnTo>
                  <a:lnTo>
                    <a:pt x="93" y="246"/>
                  </a:lnTo>
                  <a:lnTo>
                    <a:pt x="5" y="320"/>
                  </a:lnTo>
                  <a:lnTo>
                    <a:pt x="3" y="322"/>
                  </a:lnTo>
                  <a:lnTo>
                    <a:pt x="1" y="324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9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95" y="571"/>
                  </a:lnTo>
                  <a:lnTo>
                    <a:pt x="101" y="584"/>
                  </a:lnTo>
                  <a:lnTo>
                    <a:pt x="108" y="596"/>
                  </a:lnTo>
                  <a:lnTo>
                    <a:pt x="117" y="606"/>
                  </a:lnTo>
                  <a:lnTo>
                    <a:pt x="128" y="614"/>
                  </a:lnTo>
                  <a:lnTo>
                    <a:pt x="139" y="622"/>
                  </a:lnTo>
                  <a:lnTo>
                    <a:pt x="152" y="627"/>
                  </a:lnTo>
                  <a:lnTo>
                    <a:pt x="159" y="629"/>
                  </a:lnTo>
                  <a:lnTo>
                    <a:pt x="166" y="630"/>
                  </a:lnTo>
                  <a:lnTo>
                    <a:pt x="172" y="631"/>
                  </a:lnTo>
                  <a:lnTo>
                    <a:pt x="180" y="631"/>
                  </a:lnTo>
                  <a:lnTo>
                    <a:pt x="187" y="631"/>
                  </a:lnTo>
                  <a:lnTo>
                    <a:pt x="195" y="630"/>
                  </a:lnTo>
                  <a:lnTo>
                    <a:pt x="201" y="629"/>
                  </a:lnTo>
                  <a:lnTo>
                    <a:pt x="208" y="627"/>
                  </a:lnTo>
                  <a:lnTo>
                    <a:pt x="221" y="622"/>
                  </a:lnTo>
                  <a:lnTo>
                    <a:pt x="232" y="614"/>
                  </a:lnTo>
                  <a:lnTo>
                    <a:pt x="243" y="606"/>
                  </a:lnTo>
                  <a:lnTo>
                    <a:pt x="252" y="596"/>
                  </a:lnTo>
                  <a:lnTo>
                    <a:pt x="259" y="584"/>
                  </a:lnTo>
                  <a:lnTo>
                    <a:pt x="265" y="571"/>
                  </a:lnTo>
                  <a:lnTo>
                    <a:pt x="636" y="571"/>
                  </a:lnTo>
                  <a:lnTo>
                    <a:pt x="642" y="584"/>
                  </a:lnTo>
                  <a:lnTo>
                    <a:pt x="649" y="596"/>
                  </a:lnTo>
                  <a:lnTo>
                    <a:pt x="659" y="606"/>
                  </a:lnTo>
                  <a:lnTo>
                    <a:pt x="668" y="614"/>
                  </a:lnTo>
                  <a:lnTo>
                    <a:pt x="680" y="622"/>
                  </a:lnTo>
                  <a:lnTo>
                    <a:pt x="693" y="627"/>
                  </a:lnTo>
                  <a:lnTo>
                    <a:pt x="700" y="629"/>
                  </a:lnTo>
                  <a:lnTo>
                    <a:pt x="707" y="630"/>
                  </a:lnTo>
                  <a:lnTo>
                    <a:pt x="715" y="631"/>
                  </a:lnTo>
                  <a:lnTo>
                    <a:pt x="721" y="631"/>
                  </a:lnTo>
                  <a:lnTo>
                    <a:pt x="728" y="631"/>
                  </a:lnTo>
                  <a:lnTo>
                    <a:pt x="736" y="630"/>
                  </a:lnTo>
                  <a:lnTo>
                    <a:pt x="742" y="629"/>
                  </a:lnTo>
                  <a:lnTo>
                    <a:pt x="750" y="627"/>
                  </a:lnTo>
                  <a:lnTo>
                    <a:pt x="762" y="622"/>
                  </a:lnTo>
                  <a:lnTo>
                    <a:pt x="773" y="614"/>
                  </a:lnTo>
                  <a:lnTo>
                    <a:pt x="784" y="606"/>
                  </a:lnTo>
                  <a:lnTo>
                    <a:pt x="793" y="596"/>
                  </a:lnTo>
                  <a:lnTo>
                    <a:pt x="800" y="584"/>
                  </a:lnTo>
                  <a:lnTo>
                    <a:pt x="807" y="571"/>
                  </a:lnTo>
                  <a:lnTo>
                    <a:pt x="887" y="571"/>
                  </a:lnTo>
                  <a:lnTo>
                    <a:pt x="890" y="571"/>
                  </a:lnTo>
                  <a:lnTo>
                    <a:pt x="892" y="570"/>
                  </a:lnTo>
                  <a:lnTo>
                    <a:pt x="896" y="569"/>
                  </a:lnTo>
                  <a:lnTo>
                    <a:pt x="898" y="567"/>
                  </a:lnTo>
                  <a:lnTo>
                    <a:pt x="899" y="565"/>
                  </a:lnTo>
                  <a:lnTo>
                    <a:pt x="901" y="562"/>
                  </a:lnTo>
                  <a:lnTo>
                    <a:pt x="901" y="560"/>
                  </a:lnTo>
                  <a:lnTo>
                    <a:pt x="902" y="55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7"/>
                  </a:lnTo>
                  <a:lnTo>
                    <a:pt x="898" y="5"/>
                  </a:lnTo>
                  <a:lnTo>
                    <a:pt x="896" y="3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lnTo>
                    <a:pt x="887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03" name="Freeform 107">
              <a:extLst>
                <a:ext uri="{FF2B5EF4-FFF2-40B4-BE49-F238E27FC236}">
                  <a16:creationId xmlns:a16="http://schemas.microsoft.com/office/drawing/2014/main" id="{F56F5F1B-00B8-6F6D-8D1D-6ECC6642C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2632075"/>
              <a:ext cx="38100" cy="47625"/>
            </a:xfrm>
            <a:custGeom>
              <a:avLst/>
              <a:gdLst>
                <a:gd name="T0" fmla="*/ 9 w 120"/>
                <a:gd name="T1" fmla="*/ 149 h 150"/>
                <a:gd name="T2" fmla="*/ 12 w 120"/>
                <a:gd name="T3" fmla="*/ 150 h 150"/>
                <a:gd name="T4" fmla="*/ 15 w 120"/>
                <a:gd name="T5" fmla="*/ 150 h 150"/>
                <a:gd name="T6" fmla="*/ 19 w 120"/>
                <a:gd name="T7" fmla="*/ 150 h 150"/>
                <a:gd name="T8" fmla="*/ 22 w 120"/>
                <a:gd name="T9" fmla="*/ 148 h 150"/>
                <a:gd name="T10" fmla="*/ 26 w 120"/>
                <a:gd name="T11" fmla="*/ 146 h 150"/>
                <a:gd name="T12" fmla="*/ 29 w 120"/>
                <a:gd name="T13" fmla="*/ 143 h 150"/>
                <a:gd name="T14" fmla="*/ 85 w 120"/>
                <a:gd name="T15" fmla="*/ 30 h 150"/>
                <a:gd name="T16" fmla="*/ 105 w 120"/>
                <a:gd name="T17" fmla="*/ 30 h 150"/>
                <a:gd name="T18" fmla="*/ 108 w 120"/>
                <a:gd name="T19" fmla="*/ 30 h 150"/>
                <a:gd name="T20" fmla="*/ 111 w 120"/>
                <a:gd name="T21" fmla="*/ 29 h 150"/>
                <a:gd name="T22" fmla="*/ 114 w 120"/>
                <a:gd name="T23" fmla="*/ 28 h 150"/>
                <a:gd name="T24" fmla="*/ 116 w 120"/>
                <a:gd name="T25" fmla="*/ 26 h 150"/>
                <a:gd name="T26" fmla="*/ 118 w 120"/>
                <a:gd name="T27" fmla="*/ 24 h 150"/>
                <a:gd name="T28" fmla="*/ 119 w 120"/>
                <a:gd name="T29" fmla="*/ 22 h 150"/>
                <a:gd name="T30" fmla="*/ 120 w 120"/>
                <a:gd name="T31" fmla="*/ 19 h 150"/>
                <a:gd name="T32" fmla="*/ 120 w 120"/>
                <a:gd name="T33" fmla="*/ 15 h 150"/>
                <a:gd name="T34" fmla="*/ 120 w 120"/>
                <a:gd name="T35" fmla="*/ 12 h 150"/>
                <a:gd name="T36" fmla="*/ 119 w 120"/>
                <a:gd name="T37" fmla="*/ 10 h 150"/>
                <a:gd name="T38" fmla="*/ 118 w 120"/>
                <a:gd name="T39" fmla="*/ 7 h 150"/>
                <a:gd name="T40" fmla="*/ 116 w 120"/>
                <a:gd name="T41" fmla="*/ 5 h 150"/>
                <a:gd name="T42" fmla="*/ 114 w 120"/>
                <a:gd name="T43" fmla="*/ 3 h 150"/>
                <a:gd name="T44" fmla="*/ 111 w 120"/>
                <a:gd name="T45" fmla="*/ 1 h 150"/>
                <a:gd name="T46" fmla="*/ 108 w 120"/>
                <a:gd name="T47" fmla="*/ 0 h 150"/>
                <a:gd name="T48" fmla="*/ 105 w 120"/>
                <a:gd name="T49" fmla="*/ 0 h 150"/>
                <a:gd name="T50" fmla="*/ 75 w 120"/>
                <a:gd name="T51" fmla="*/ 0 h 150"/>
                <a:gd name="T52" fmla="*/ 71 w 120"/>
                <a:gd name="T53" fmla="*/ 1 h 150"/>
                <a:gd name="T54" fmla="*/ 67 w 120"/>
                <a:gd name="T55" fmla="*/ 3 h 150"/>
                <a:gd name="T56" fmla="*/ 64 w 120"/>
                <a:gd name="T57" fmla="*/ 6 h 150"/>
                <a:gd name="T58" fmla="*/ 62 w 120"/>
                <a:gd name="T59" fmla="*/ 9 h 150"/>
                <a:gd name="T60" fmla="*/ 1 w 120"/>
                <a:gd name="T61" fmla="*/ 129 h 150"/>
                <a:gd name="T62" fmla="*/ 0 w 120"/>
                <a:gd name="T63" fmla="*/ 132 h 150"/>
                <a:gd name="T64" fmla="*/ 0 w 120"/>
                <a:gd name="T65" fmla="*/ 134 h 150"/>
                <a:gd name="T66" fmla="*/ 0 w 120"/>
                <a:gd name="T67" fmla="*/ 137 h 150"/>
                <a:gd name="T68" fmla="*/ 1 w 120"/>
                <a:gd name="T69" fmla="*/ 141 h 150"/>
                <a:gd name="T70" fmla="*/ 2 w 120"/>
                <a:gd name="T71" fmla="*/ 143 h 150"/>
                <a:gd name="T72" fmla="*/ 3 w 120"/>
                <a:gd name="T73" fmla="*/ 145 h 150"/>
                <a:gd name="T74" fmla="*/ 5 w 120"/>
                <a:gd name="T75" fmla="*/ 147 h 150"/>
                <a:gd name="T76" fmla="*/ 9 w 120"/>
                <a:gd name="T77" fmla="*/ 14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0" h="150">
                  <a:moveTo>
                    <a:pt x="9" y="149"/>
                  </a:moveTo>
                  <a:lnTo>
                    <a:pt x="12" y="150"/>
                  </a:lnTo>
                  <a:lnTo>
                    <a:pt x="15" y="150"/>
                  </a:lnTo>
                  <a:lnTo>
                    <a:pt x="19" y="150"/>
                  </a:lnTo>
                  <a:lnTo>
                    <a:pt x="22" y="148"/>
                  </a:lnTo>
                  <a:lnTo>
                    <a:pt x="26" y="146"/>
                  </a:lnTo>
                  <a:lnTo>
                    <a:pt x="29" y="143"/>
                  </a:lnTo>
                  <a:lnTo>
                    <a:pt x="8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1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2"/>
                  </a:lnTo>
                  <a:lnTo>
                    <a:pt x="120" y="19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67" y="3"/>
                  </a:lnTo>
                  <a:lnTo>
                    <a:pt x="64" y="6"/>
                  </a:lnTo>
                  <a:lnTo>
                    <a:pt x="62" y="9"/>
                  </a:lnTo>
                  <a:lnTo>
                    <a:pt x="1" y="129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7"/>
                  </a:lnTo>
                  <a:lnTo>
                    <a:pt x="1" y="141"/>
                  </a:lnTo>
                  <a:lnTo>
                    <a:pt x="2" y="143"/>
                  </a:lnTo>
                  <a:lnTo>
                    <a:pt x="3" y="145"/>
                  </a:lnTo>
                  <a:lnTo>
                    <a:pt x="5" y="147"/>
                  </a:lnTo>
                  <a:lnTo>
                    <a:pt x="9" y="149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prstClr val="black"/>
                </a:solidFill>
                <a:latin typeface="Calibri Light"/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FC54BDD7-94B0-6144-CE37-8332D077B8D6}"/>
              </a:ext>
            </a:extLst>
          </p:cNvPr>
          <p:cNvSpPr txBox="1"/>
          <p:nvPr/>
        </p:nvSpPr>
        <p:spPr>
          <a:xfrm>
            <a:off x="4908012" y="1775340"/>
            <a:ext cx="2296083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prstClr val="black"/>
                </a:solidFill>
                <a:latin typeface="Calibri Light"/>
              </a:rPr>
              <a:t>Partnerships and Alliances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40A56D26-1349-336D-3CE0-15D0ED0BA7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4465624B-A78E-70B8-2994-019715A6AE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17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89" name="Google Shape;2589;p30"/>
          <p:cNvGrpSpPr/>
          <p:nvPr/>
        </p:nvGrpSpPr>
        <p:grpSpPr>
          <a:xfrm>
            <a:off x="884445" y="1716873"/>
            <a:ext cx="10423131" cy="4287916"/>
            <a:chOff x="602300" y="1815975"/>
            <a:chExt cx="6397175" cy="2631700"/>
          </a:xfrm>
        </p:grpSpPr>
        <p:sp>
          <p:nvSpPr>
            <p:cNvPr id="2590" name="Google Shape;2590;p30"/>
            <p:cNvSpPr/>
            <p:nvPr/>
          </p:nvSpPr>
          <p:spPr>
            <a:xfrm>
              <a:off x="713150" y="3083500"/>
              <a:ext cx="6218250" cy="55450"/>
            </a:xfrm>
            <a:custGeom>
              <a:avLst/>
              <a:gdLst/>
              <a:ahLst/>
              <a:cxnLst/>
              <a:rect l="l" t="t" r="r" b="b"/>
              <a:pathLst>
                <a:path w="248730" h="2218" extrusionOk="0">
                  <a:moveTo>
                    <a:pt x="0" y="1"/>
                  </a:moveTo>
                  <a:lnTo>
                    <a:pt x="0" y="2218"/>
                  </a:lnTo>
                  <a:lnTo>
                    <a:pt x="248729" y="2218"/>
                  </a:lnTo>
                  <a:lnTo>
                    <a:pt x="24872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1" name="Google Shape;2591;p30"/>
            <p:cNvSpPr/>
            <p:nvPr/>
          </p:nvSpPr>
          <p:spPr>
            <a:xfrm>
              <a:off x="602300" y="3047100"/>
              <a:ext cx="129075" cy="129850"/>
            </a:xfrm>
            <a:custGeom>
              <a:avLst/>
              <a:gdLst/>
              <a:ahLst/>
              <a:cxnLst/>
              <a:rect l="l" t="t" r="r" b="b"/>
              <a:pathLst>
                <a:path w="5163" h="5194" extrusionOk="0">
                  <a:moveTo>
                    <a:pt x="2566" y="0"/>
                  </a:moveTo>
                  <a:cubicBezTo>
                    <a:pt x="1141" y="0"/>
                    <a:pt x="1" y="1172"/>
                    <a:pt x="1" y="2597"/>
                  </a:cubicBezTo>
                  <a:cubicBezTo>
                    <a:pt x="1" y="4022"/>
                    <a:pt x="1141" y="5194"/>
                    <a:pt x="2566" y="5194"/>
                  </a:cubicBezTo>
                  <a:cubicBezTo>
                    <a:pt x="4023" y="5194"/>
                    <a:pt x="5163" y="4022"/>
                    <a:pt x="5163" y="2597"/>
                  </a:cubicBezTo>
                  <a:cubicBezTo>
                    <a:pt x="5163" y="1172"/>
                    <a:pt x="4023" y="0"/>
                    <a:pt x="2566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2" name="Google Shape;2592;p30"/>
            <p:cNvSpPr/>
            <p:nvPr/>
          </p:nvSpPr>
          <p:spPr>
            <a:xfrm>
              <a:off x="6870400" y="3047100"/>
              <a:ext cx="129075" cy="129850"/>
            </a:xfrm>
            <a:custGeom>
              <a:avLst/>
              <a:gdLst/>
              <a:ahLst/>
              <a:cxnLst/>
              <a:rect l="l" t="t" r="r" b="b"/>
              <a:pathLst>
                <a:path w="5163" h="5194" extrusionOk="0">
                  <a:moveTo>
                    <a:pt x="2598" y="0"/>
                  </a:moveTo>
                  <a:cubicBezTo>
                    <a:pt x="1141" y="0"/>
                    <a:pt x="1" y="1172"/>
                    <a:pt x="1" y="2597"/>
                  </a:cubicBezTo>
                  <a:cubicBezTo>
                    <a:pt x="1" y="4022"/>
                    <a:pt x="1141" y="5194"/>
                    <a:pt x="2598" y="5194"/>
                  </a:cubicBezTo>
                  <a:cubicBezTo>
                    <a:pt x="4023" y="5194"/>
                    <a:pt x="5163" y="4022"/>
                    <a:pt x="5163" y="2597"/>
                  </a:cubicBezTo>
                  <a:cubicBezTo>
                    <a:pt x="5163" y="1172"/>
                    <a:pt x="4023" y="0"/>
                    <a:pt x="2598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3" name="Google Shape;2593;p30"/>
            <p:cNvSpPr/>
            <p:nvPr/>
          </p:nvSpPr>
          <p:spPr>
            <a:xfrm>
              <a:off x="1340200" y="3029675"/>
              <a:ext cx="163900" cy="163900"/>
            </a:xfrm>
            <a:custGeom>
              <a:avLst/>
              <a:gdLst/>
              <a:ahLst/>
              <a:cxnLst/>
              <a:rect l="l" t="t" r="r" b="b"/>
              <a:pathLst>
                <a:path w="6556" h="6556" extrusionOk="0">
                  <a:moveTo>
                    <a:pt x="3294" y="0"/>
                  </a:moveTo>
                  <a:cubicBezTo>
                    <a:pt x="1489" y="0"/>
                    <a:pt x="0" y="1489"/>
                    <a:pt x="0" y="3294"/>
                  </a:cubicBezTo>
                  <a:cubicBezTo>
                    <a:pt x="0" y="5099"/>
                    <a:pt x="1489" y="6556"/>
                    <a:pt x="3294" y="6556"/>
                  </a:cubicBezTo>
                  <a:cubicBezTo>
                    <a:pt x="5099" y="6556"/>
                    <a:pt x="6556" y="5099"/>
                    <a:pt x="6556" y="3294"/>
                  </a:cubicBezTo>
                  <a:cubicBezTo>
                    <a:pt x="6556" y="1489"/>
                    <a:pt x="5099" y="0"/>
                    <a:pt x="3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4" name="Google Shape;2594;p30"/>
            <p:cNvSpPr/>
            <p:nvPr/>
          </p:nvSpPr>
          <p:spPr>
            <a:xfrm>
              <a:off x="1348900" y="3046700"/>
              <a:ext cx="146500" cy="130325"/>
            </a:xfrm>
            <a:custGeom>
              <a:avLst/>
              <a:gdLst/>
              <a:ahLst/>
              <a:cxnLst/>
              <a:rect l="l" t="t" r="r" b="b"/>
              <a:pathLst>
                <a:path w="5860" h="5213" extrusionOk="0">
                  <a:moveTo>
                    <a:pt x="2957" y="1"/>
                  </a:moveTo>
                  <a:cubicBezTo>
                    <a:pt x="2680" y="1"/>
                    <a:pt x="2399" y="47"/>
                    <a:pt x="2123" y="143"/>
                  </a:cubicBezTo>
                  <a:cubicBezTo>
                    <a:pt x="761" y="586"/>
                    <a:pt x="1" y="2043"/>
                    <a:pt x="476" y="3436"/>
                  </a:cubicBezTo>
                  <a:cubicBezTo>
                    <a:pt x="831" y="4528"/>
                    <a:pt x="1859" y="5213"/>
                    <a:pt x="2954" y="5213"/>
                  </a:cubicBezTo>
                  <a:cubicBezTo>
                    <a:pt x="3224" y="5213"/>
                    <a:pt x="3499" y="5171"/>
                    <a:pt x="3769" y="5083"/>
                  </a:cubicBezTo>
                  <a:cubicBezTo>
                    <a:pt x="5131" y="4640"/>
                    <a:pt x="5859" y="3151"/>
                    <a:pt x="5416" y="1790"/>
                  </a:cubicBezTo>
                  <a:cubicBezTo>
                    <a:pt x="5063" y="704"/>
                    <a:pt x="4045" y="1"/>
                    <a:pt x="2957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5" name="Google Shape;2595;p30"/>
            <p:cNvSpPr/>
            <p:nvPr/>
          </p:nvSpPr>
          <p:spPr>
            <a:xfrm>
              <a:off x="1352875" y="3070050"/>
              <a:ext cx="133025" cy="106950"/>
            </a:xfrm>
            <a:custGeom>
              <a:avLst/>
              <a:gdLst/>
              <a:ahLst/>
              <a:cxnLst/>
              <a:rect l="l" t="t" r="r" b="b"/>
              <a:pathLst>
                <a:path w="5321" h="4278" extrusionOk="0">
                  <a:moveTo>
                    <a:pt x="760" y="1"/>
                  </a:moveTo>
                  <a:cubicBezTo>
                    <a:pt x="190" y="729"/>
                    <a:pt x="0" y="1711"/>
                    <a:pt x="380" y="2629"/>
                  </a:cubicBezTo>
                  <a:cubicBezTo>
                    <a:pt x="789" y="3663"/>
                    <a:pt x="1745" y="4277"/>
                    <a:pt x="2778" y="4277"/>
                  </a:cubicBezTo>
                  <a:cubicBezTo>
                    <a:pt x="3106" y="4277"/>
                    <a:pt x="3441" y="4215"/>
                    <a:pt x="3769" y="4086"/>
                  </a:cubicBezTo>
                  <a:cubicBezTo>
                    <a:pt x="4560" y="3769"/>
                    <a:pt x="5130" y="3104"/>
                    <a:pt x="5320" y="2312"/>
                  </a:cubicBezTo>
                  <a:lnTo>
                    <a:pt x="5320" y="2312"/>
                  </a:lnTo>
                  <a:cubicBezTo>
                    <a:pt x="5035" y="2629"/>
                    <a:pt x="4687" y="2914"/>
                    <a:pt x="4275" y="3072"/>
                  </a:cubicBezTo>
                  <a:cubicBezTo>
                    <a:pt x="3954" y="3203"/>
                    <a:pt x="3622" y="3264"/>
                    <a:pt x="3295" y="3264"/>
                  </a:cubicBezTo>
                  <a:cubicBezTo>
                    <a:pt x="2268" y="3264"/>
                    <a:pt x="1295" y="2656"/>
                    <a:pt x="887" y="1647"/>
                  </a:cubicBezTo>
                  <a:cubicBezTo>
                    <a:pt x="665" y="1109"/>
                    <a:pt x="633" y="539"/>
                    <a:pt x="760" y="1"/>
                  </a:cubicBezTo>
                  <a:close/>
                </a:path>
              </a:pathLst>
            </a:custGeom>
            <a:solidFill>
              <a:srgbClr val="DD91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6" name="Google Shape;2596;p30"/>
            <p:cNvSpPr/>
            <p:nvPr/>
          </p:nvSpPr>
          <p:spPr>
            <a:xfrm>
              <a:off x="906325" y="1815975"/>
              <a:ext cx="1030075" cy="1183650"/>
            </a:xfrm>
            <a:custGeom>
              <a:avLst/>
              <a:gdLst/>
              <a:ahLst/>
              <a:cxnLst/>
              <a:rect l="l" t="t" r="r" b="b"/>
              <a:pathLst>
                <a:path w="41203" h="47346" extrusionOk="0">
                  <a:moveTo>
                    <a:pt x="20617" y="0"/>
                  </a:moveTo>
                  <a:cubicBezTo>
                    <a:pt x="9216" y="0"/>
                    <a:pt x="1" y="9216"/>
                    <a:pt x="1" y="20585"/>
                  </a:cubicBezTo>
                  <a:cubicBezTo>
                    <a:pt x="1" y="30687"/>
                    <a:pt x="7253" y="39079"/>
                    <a:pt x="16849" y="40853"/>
                  </a:cubicBezTo>
                  <a:lnTo>
                    <a:pt x="20617" y="47345"/>
                  </a:lnTo>
                  <a:lnTo>
                    <a:pt x="24354" y="40853"/>
                  </a:lnTo>
                  <a:cubicBezTo>
                    <a:pt x="33950" y="39079"/>
                    <a:pt x="41202" y="30687"/>
                    <a:pt x="41202" y="20585"/>
                  </a:cubicBezTo>
                  <a:cubicBezTo>
                    <a:pt x="41202" y="9216"/>
                    <a:pt x="31986" y="0"/>
                    <a:pt x="20617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7" name="Google Shape;2597;p30"/>
            <p:cNvSpPr/>
            <p:nvPr/>
          </p:nvSpPr>
          <p:spPr>
            <a:xfrm>
              <a:off x="1010850" y="1920475"/>
              <a:ext cx="821025" cy="821050"/>
            </a:xfrm>
            <a:custGeom>
              <a:avLst/>
              <a:gdLst/>
              <a:ahLst/>
              <a:cxnLst/>
              <a:rect l="l" t="t" r="r" b="b"/>
              <a:pathLst>
                <a:path w="32841" h="32842" extrusionOk="0">
                  <a:moveTo>
                    <a:pt x="16436" y="0"/>
                  </a:moveTo>
                  <a:cubicBezTo>
                    <a:pt x="7347" y="0"/>
                    <a:pt x="0" y="7348"/>
                    <a:pt x="0" y="16405"/>
                  </a:cubicBezTo>
                  <a:cubicBezTo>
                    <a:pt x="0" y="25462"/>
                    <a:pt x="7347" y="32841"/>
                    <a:pt x="16436" y="32841"/>
                  </a:cubicBezTo>
                  <a:cubicBezTo>
                    <a:pt x="25494" y="32841"/>
                    <a:pt x="32841" y="25462"/>
                    <a:pt x="32841" y="16405"/>
                  </a:cubicBezTo>
                  <a:cubicBezTo>
                    <a:pt x="32841" y="7348"/>
                    <a:pt x="25494" y="0"/>
                    <a:pt x="16436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8" name="Google Shape;2598;p30"/>
            <p:cNvSpPr/>
            <p:nvPr/>
          </p:nvSpPr>
          <p:spPr>
            <a:xfrm>
              <a:off x="3959225" y="1815975"/>
              <a:ext cx="1030075" cy="1183650"/>
            </a:xfrm>
            <a:custGeom>
              <a:avLst/>
              <a:gdLst/>
              <a:ahLst/>
              <a:cxnLst/>
              <a:rect l="l" t="t" r="r" b="b"/>
              <a:pathLst>
                <a:path w="41203" h="47346" extrusionOk="0">
                  <a:moveTo>
                    <a:pt x="20617" y="0"/>
                  </a:moveTo>
                  <a:cubicBezTo>
                    <a:pt x="9216" y="0"/>
                    <a:pt x="1" y="9216"/>
                    <a:pt x="1" y="20585"/>
                  </a:cubicBezTo>
                  <a:cubicBezTo>
                    <a:pt x="1" y="30687"/>
                    <a:pt x="7253" y="39079"/>
                    <a:pt x="16849" y="40853"/>
                  </a:cubicBezTo>
                  <a:lnTo>
                    <a:pt x="20617" y="47345"/>
                  </a:lnTo>
                  <a:lnTo>
                    <a:pt x="24354" y="40853"/>
                  </a:lnTo>
                  <a:cubicBezTo>
                    <a:pt x="33950" y="39079"/>
                    <a:pt x="41202" y="30687"/>
                    <a:pt x="41202" y="20585"/>
                  </a:cubicBezTo>
                  <a:cubicBezTo>
                    <a:pt x="41202" y="9216"/>
                    <a:pt x="31986" y="0"/>
                    <a:pt x="20617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9" name="Google Shape;2599;p30"/>
            <p:cNvSpPr/>
            <p:nvPr/>
          </p:nvSpPr>
          <p:spPr>
            <a:xfrm>
              <a:off x="4063725" y="1920475"/>
              <a:ext cx="821050" cy="821050"/>
            </a:xfrm>
            <a:custGeom>
              <a:avLst/>
              <a:gdLst/>
              <a:ahLst/>
              <a:cxnLst/>
              <a:rect l="l" t="t" r="r" b="b"/>
              <a:pathLst>
                <a:path w="32842" h="32842" extrusionOk="0">
                  <a:moveTo>
                    <a:pt x="16437" y="0"/>
                  </a:moveTo>
                  <a:cubicBezTo>
                    <a:pt x="7348" y="0"/>
                    <a:pt x="1" y="7348"/>
                    <a:pt x="1" y="16405"/>
                  </a:cubicBezTo>
                  <a:cubicBezTo>
                    <a:pt x="1" y="25462"/>
                    <a:pt x="7348" y="32841"/>
                    <a:pt x="16437" y="32841"/>
                  </a:cubicBezTo>
                  <a:cubicBezTo>
                    <a:pt x="25495" y="32841"/>
                    <a:pt x="32842" y="25462"/>
                    <a:pt x="32842" y="16405"/>
                  </a:cubicBezTo>
                  <a:cubicBezTo>
                    <a:pt x="32842" y="7348"/>
                    <a:pt x="25495" y="0"/>
                    <a:pt x="1643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0" name="Google Shape;2600;p30"/>
            <p:cNvSpPr/>
            <p:nvPr/>
          </p:nvSpPr>
          <p:spPr>
            <a:xfrm>
              <a:off x="5486475" y="3263225"/>
              <a:ext cx="1030050" cy="1184450"/>
            </a:xfrm>
            <a:custGeom>
              <a:avLst/>
              <a:gdLst/>
              <a:ahLst/>
              <a:cxnLst/>
              <a:rect l="l" t="t" r="r" b="b"/>
              <a:pathLst>
                <a:path w="41202" h="47378" extrusionOk="0">
                  <a:moveTo>
                    <a:pt x="20585" y="1"/>
                  </a:moveTo>
                  <a:lnTo>
                    <a:pt x="16848" y="6493"/>
                  </a:lnTo>
                  <a:cubicBezTo>
                    <a:pt x="7252" y="8266"/>
                    <a:pt x="0" y="16659"/>
                    <a:pt x="0" y="26761"/>
                  </a:cubicBezTo>
                  <a:cubicBezTo>
                    <a:pt x="0" y="38130"/>
                    <a:pt x="9216" y="47377"/>
                    <a:pt x="20585" y="47377"/>
                  </a:cubicBezTo>
                  <a:cubicBezTo>
                    <a:pt x="31954" y="47377"/>
                    <a:pt x="41202" y="38130"/>
                    <a:pt x="41202" y="26761"/>
                  </a:cubicBezTo>
                  <a:cubicBezTo>
                    <a:pt x="41202" y="16659"/>
                    <a:pt x="33918" y="8266"/>
                    <a:pt x="24354" y="6493"/>
                  </a:cubicBezTo>
                  <a:lnTo>
                    <a:pt x="20585" y="1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1" name="Google Shape;2601;p30"/>
            <p:cNvSpPr/>
            <p:nvPr/>
          </p:nvSpPr>
          <p:spPr>
            <a:xfrm>
              <a:off x="5590975" y="3522125"/>
              <a:ext cx="820250" cy="820250"/>
            </a:xfrm>
            <a:custGeom>
              <a:avLst/>
              <a:gdLst/>
              <a:ahLst/>
              <a:cxnLst/>
              <a:rect l="l" t="t" r="r" b="b"/>
              <a:pathLst>
                <a:path w="32810" h="32810" extrusionOk="0">
                  <a:moveTo>
                    <a:pt x="16405" y="1"/>
                  </a:moveTo>
                  <a:cubicBezTo>
                    <a:pt x="7348" y="1"/>
                    <a:pt x="1" y="7348"/>
                    <a:pt x="1" y="16405"/>
                  </a:cubicBezTo>
                  <a:cubicBezTo>
                    <a:pt x="1" y="25462"/>
                    <a:pt x="7348" y="32810"/>
                    <a:pt x="16405" y="32810"/>
                  </a:cubicBezTo>
                  <a:cubicBezTo>
                    <a:pt x="25463" y="32810"/>
                    <a:pt x="32810" y="25462"/>
                    <a:pt x="32810" y="16405"/>
                  </a:cubicBezTo>
                  <a:cubicBezTo>
                    <a:pt x="32810" y="7348"/>
                    <a:pt x="25463" y="1"/>
                    <a:pt x="16405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2" name="Google Shape;2602;p30"/>
            <p:cNvSpPr/>
            <p:nvPr/>
          </p:nvSpPr>
          <p:spPr>
            <a:xfrm>
              <a:off x="2433575" y="3263225"/>
              <a:ext cx="1030850" cy="1184450"/>
            </a:xfrm>
            <a:custGeom>
              <a:avLst/>
              <a:gdLst/>
              <a:ahLst/>
              <a:cxnLst/>
              <a:rect l="l" t="t" r="r" b="b"/>
              <a:pathLst>
                <a:path w="41234" h="47378" extrusionOk="0">
                  <a:moveTo>
                    <a:pt x="20617" y="1"/>
                  </a:moveTo>
                  <a:lnTo>
                    <a:pt x="16848" y="6493"/>
                  </a:lnTo>
                  <a:cubicBezTo>
                    <a:pt x="7284" y="8266"/>
                    <a:pt x="0" y="16659"/>
                    <a:pt x="0" y="26761"/>
                  </a:cubicBezTo>
                  <a:cubicBezTo>
                    <a:pt x="0" y="38130"/>
                    <a:pt x="9248" y="47377"/>
                    <a:pt x="20617" y="47377"/>
                  </a:cubicBezTo>
                  <a:cubicBezTo>
                    <a:pt x="31986" y="47377"/>
                    <a:pt x="41233" y="38130"/>
                    <a:pt x="41233" y="26761"/>
                  </a:cubicBezTo>
                  <a:cubicBezTo>
                    <a:pt x="41233" y="16659"/>
                    <a:pt x="33950" y="8266"/>
                    <a:pt x="24354" y="6493"/>
                  </a:cubicBezTo>
                  <a:lnTo>
                    <a:pt x="20617" y="1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3" name="Google Shape;2603;p30"/>
            <p:cNvSpPr/>
            <p:nvPr/>
          </p:nvSpPr>
          <p:spPr>
            <a:xfrm>
              <a:off x="2538875" y="3522125"/>
              <a:ext cx="820250" cy="820250"/>
            </a:xfrm>
            <a:custGeom>
              <a:avLst/>
              <a:gdLst/>
              <a:ahLst/>
              <a:cxnLst/>
              <a:rect l="l" t="t" r="r" b="b"/>
              <a:pathLst>
                <a:path w="32810" h="32810" extrusionOk="0">
                  <a:moveTo>
                    <a:pt x="16405" y="1"/>
                  </a:moveTo>
                  <a:cubicBezTo>
                    <a:pt x="7348" y="1"/>
                    <a:pt x="0" y="7348"/>
                    <a:pt x="0" y="16405"/>
                  </a:cubicBezTo>
                  <a:cubicBezTo>
                    <a:pt x="0" y="25462"/>
                    <a:pt x="7348" y="32810"/>
                    <a:pt x="16405" y="32810"/>
                  </a:cubicBezTo>
                  <a:cubicBezTo>
                    <a:pt x="25462" y="32810"/>
                    <a:pt x="32809" y="25462"/>
                    <a:pt x="32809" y="16405"/>
                  </a:cubicBezTo>
                  <a:cubicBezTo>
                    <a:pt x="32809" y="7348"/>
                    <a:pt x="25462" y="1"/>
                    <a:pt x="1640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4" name="Google Shape;2604;p30"/>
            <p:cNvSpPr/>
            <p:nvPr/>
          </p:nvSpPr>
          <p:spPr>
            <a:xfrm>
              <a:off x="1386125" y="3263225"/>
              <a:ext cx="57800" cy="58625"/>
            </a:xfrm>
            <a:custGeom>
              <a:avLst/>
              <a:gdLst/>
              <a:ahLst/>
              <a:cxnLst/>
              <a:rect l="l" t="t" r="r" b="b"/>
              <a:pathLst>
                <a:path w="2312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3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5" y="2344"/>
                    <a:pt x="2312" y="1806"/>
                    <a:pt x="2312" y="1173"/>
                  </a:cubicBezTo>
                  <a:cubicBezTo>
                    <a:pt x="2312" y="539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5" name="Google Shape;2605;p30"/>
            <p:cNvSpPr/>
            <p:nvPr/>
          </p:nvSpPr>
          <p:spPr>
            <a:xfrm>
              <a:off x="1386125" y="3393075"/>
              <a:ext cx="57800" cy="57825"/>
            </a:xfrm>
            <a:custGeom>
              <a:avLst/>
              <a:gdLst/>
              <a:ahLst/>
              <a:cxnLst/>
              <a:rect l="l" t="t" r="r" b="b"/>
              <a:pathLst>
                <a:path w="2312" h="2313" extrusionOk="0">
                  <a:moveTo>
                    <a:pt x="1172" y="1"/>
                  </a:moveTo>
                  <a:cubicBezTo>
                    <a:pt x="507" y="1"/>
                    <a:pt x="0" y="507"/>
                    <a:pt x="0" y="1172"/>
                  </a:cubicBezTo>
                  <a:cubicBezTo>
                    <a:pt x="0" y="1806"/>
                    <a:pt x="507" y="2312"/>
                    <a:pt x="1172" y="2312"/>
                  </a:cubicBezTo>
                  <a:cubicBezTo>
                    <a:pt x="1805" y="2312"/>
                    <a:pt x="2312" y="1806"/>
                    <a:pt x="2312" y="1172"/>
                  </a:cubicBezTo>
                  <a:cubicBezTo>
                    <a:pt x="2312" y="507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6" name="Google Shape;2606;p30"/>
            <p:cNvSpPr/>
            <p:nvPr/>
          </p:nvSpPr>
          <p:spPr>
            <a:xfrm>
              <a:off x="1386125" y="3522125"/>
              <a:ext cx="57800" cy="58625"/>
            </a:xfrm>
            <a:custGeom>
              <a:avLst/>
              <a:gdLst/>
              <a:ahLst/>
              <a:cxnLst/>
              <a:rect l="l" t="t" r="r" b="b"/>
              <a:pathLst>
                <a:path w="2312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5" y="2344"/>
                    <a:pt x="2312" y="1806"/>
                    <a:pt x="2312" y="1172"/>
                  </a:cubicBezTo>
                  <a:cubicBezTo>
                    <a:pt x="2312" y="539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7" name="Google Shape;2607;p30"/>
            <p:cNvSpPr/>
            <p:nvPr/>
          </p:nvSpPr>
          <p:spPr>
            <a:xfrm>
              <a:off x="1386125" y="3651975"/>
              <a:ext cx="57800" cy="57825"/>
            </a:xfrm>
            <a:custGeom>
              <a:avLst/>
              <a:gdLst/>
              <a:ahLst/>
              <a:cxnLst/>
              <a:rect l="l" t="t" r="r" b="b"/>
              <a:pathLst>
                <a:path w="2312" h="2313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5"/>
                    <a:pt x="507" y="2312"/>
                    <a:pt x="1172" y="2312"/>
                  </a:cubicBezTo>
                  <a:cubicBezTo>
                    <a:pt x="1805" y="2312"/>
                    <a:pt x="2312" y="1805"/>
                    <a:pt x="2312" y="1172"/>
                  </a:cubicBezTo>
                  <a:cubicBezTo>
                    <a:pt x="2312" y="507"/>
                    <a:pt x="1805" y="0"/>
                    <a:pt x="1172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8" name="Google Shape;2608;p30"/>
            <p:cNvSpPr/>
            <p:nvPr/>
          </p:nvSpPr>
          <p:spPr>
            <a:xfrm>
              <a:off x="1366325" y="2055850"/>
              <a:ext cx="101375" cy="100575"/>
            </a:xfrm>
            <a:custGeom>
              <a:avLst/>
              <a:gdLst/>
              <a:ahLst/>
              <a:cxnLst/>
              <a:rect l="l" t="t" r="r" b="b"/>
              <a:pathLst>
                <a:path w="4055" h="4023" extrusionOk="0">
                  <a:moveTo>
                    <a:pt x="0" y="1"/>
                  </a:moveTo>
                  <a:lnTo>
                    <a:pt x="0" y="4023"/>
                  </a:lnTo>
                  <a:lnTo>
                    <a:pt x="4054" y="4023"/>
                  </a:lnTo>
                  <a:lnTo>
                    <a:pt x="4054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9" name="Google Shape;2609;p30"/>
            <p:cNvSpPr/>
            <p:nvPr/>
          </p:nvSpPr>
          <p:spPr>
            <a:xfrm>
              <a:off x="1157300" y="2091475"/>
              <a:ext cx="518625" cy="517825"/>
            </a:xfrm>
            <a:custGeom>
              <a:avLst/>
              <a:gdLst/>
              <a:ahLst/>
              <a:cxnLst/>
              <a:rect l="l" t="t" r="r" b="b"/>
              <a:pathLst>
                <a:path w="20745" h="20713" extrusionOk="0">
                  <a:moveTo>
                    <a:pt x="10388" y="1363"/>
                  </a:moveTo>
                  <a:cubicBezTo>
                    <a:pt x="15329" y="1363"/>
                    <a:pt x="19382" y="5385"/>
                    <a:pt x="19382" y="10357"/>
                  </a:cubicBezTo>
                  <a:cubicBezTo>
                    <a:pt x="19382" y="15329"/>
                    <a:pt x="15329" y="19351"/>
                    <a:pt x="10388" y="19351"/>
                  </a:cubicBezTo>
                  <a:cubicBezTo>
                    <a:pt x="5416" y="19351"/>
                    <a:pt x="1363" y="15329"/>
                    <a:pt x="1363" y="10357"/>
                  </a:cubicBezTo>
                  <a:cubicBezTo>
                    <a:pt x="1363" y="5385"/>
                    <a:pt x="5416" y="1363"/>
                    <a:pt x="10388" y="1363"/>
                  </a:cubicBezTo>
                  <a:close/>
                  <a:moveTo>
                    <a:pt x="10388" y="1"/>
                  </a:moveTo>
                  <a:cubicBezTo>
                    <a:pt x="4656" y="1"/>
                    <a:pt x="1" y="4625"/>
                    <a:pt x="1" y="10357"/>
                  </a:cubicBezTo>
                  <a:cubicBezTo>
                    <a:pt x="1" y="16089"/>
                    <a:pt x="4656" y="20712"/>
                    <a:pt x="10388" y="20712"/>
                  </a:cubicBezTo>
                  <a:cubicBezTo>
                    <a:pt x="16089" y="20712"/>
                    <a:pt x="20744" y="16089"/>
                    <a:pt x="20744" y="10357"/>
                  </a:cubicBezTo>
                  <a:cubicBezTo>
                    <a:pt x="20744" y="4625"/>
                    <a:pt x="16089" y="1"/>
                    <a:pt x="10388" y="1"/>
                  </a:cubicBez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0" name="Google Shape;2610;p30"/>
            <p:cNvSpPr/>
            <p:nvPr/>
          </p:nvSpPr>
          <p:spPr>
            <a:xfrm>
              <a:off x="1150175" y="2083575"/>
              <a:ext cx="532875" cy="532850"/>
            </a:xfrm>
            <a:custGeom>
              <a:avLst/>
              <a:gdLst/>
              <a:ahLst/>
              <a:cxnLst/>
              <a:rect l="l" t="t" r="r" b="b"/>
              <a:pathLst>
                <a:path w="21315" h="21314" extrusionOk="0">
                  <a:moveTo>
                    <a:pt x="12890" y="1235"/>
                  </a:moveTo>
                  <a:cubicBezTo>
                    <a:pt x="18084" y="2470"/>
                    <a:pt x="21314" y="7696"/>
                    <a:pt x="20079" y="12921"/>
                  </a:cubicBezTo>
                  <a:cubicBezTo>
                    <a:pt x="18844" y="18115"/>
                    <a:pt x="13618" y="21313"/>
                    <a:pt x="8425" y="20078"/>
                  </a:cubicBezTo>
                  <a:cubicBezTo>
                    <a:pt x="3199" y="18843"/>
                    <a:pt x="1" y="13618"/>
                    <a:pt x="1236" y="8424"/>
                  </a:cubicBezTo>
                  <a:cubicBezTo>
                    <a:pt x="2471" y="3230"/>
                    <a:pt x="7696" y="0"/>
                    <a:pt x="12890" y="1235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1" name="Google Shape;2611;p30"/>
            <p:cNvSpPr/>
            <p:nvPr/>
          </p:nvSpPr>
          <p:spPr>
            <a:xfrm>
              <a:off x="1191350" y="2124725"/>
              <a:ext cx="451300" cy="451325"/>
            </a:xfrm>
            <a:custGeom>
              <a:avLst/>
              <a:gdLst/>
              <a:ahLst/>
              <a:cxnLst/>
              <a:rect l="l" t="t" r="r" b="b"/>
              <a:pathLst>
                <a:path w="18052" h="18053" extrusionOk="0">
                  <a:moveTo>
                    <a:pt x="9026" y="1"/>
                  </a:moveTo>
                  <a:cubicBezTo>
                    <a:pt x="4023" y="1"/>
                    <a:pt x="1" y="4055"/>
                    <a:pt x="1" y="9027"/>
                  </a:cubicBezTo>
                  <a:cubicBezTo>
                    <a:pt x="1" y="13999"/>
                    <a:pt x="4023" y="18052"/>
                    <a:pt x="9026" y="18052"/>
                  </a:cubicBezTo>
                  <a:cubicBezTo>
                    <a:pt x="13998" y="18052"/>
                    <a:pt x="18052" y="13999"/>
                    <a:pt x="18052" y="9027"/>
                  </a:cubicBezTo>
                  <a:cubicBezTo>
                    <a:pt x="18052" y="4055"/>
                    <a:pt x="13998" y="1"/>
                    <a:pt x="902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2" name="Google Shape;2612;p30"/>
            <p:cNvSpPr/>
            <p:nvPr/>
          </p:nvSpPr>
          <p:spPr>
            <a:xfrm>
              <a:off x="1191350" y="2124725"/>
              <a:ext cx="451300" cy="451325"/>
            </a:xfrm>
            <a:custGeom>
              <a:avLst/>
              <a:gdLst/>
              <a:ahLst/>
              <a:cxnLst/>
              <a:rect l="l" t="t" r="r" b="b"/>
              <a:pathLst>
                <a:path w="18052" h="18053" extrusionOk="0">
                  <a:moveTo>
                    <a:pt x="9026" y="888"/>
                  </a:moveTo>
                  <a:cubicBezTo>
                    <a:pt x="13492" y="888"/>
                    <a:pt x="17165" y="4530"/>
                    <a:pt x="17165" y="9027"/>
                  </a:cubicBezTo>
                  <a:cubicBezTo>
                    <a:pt x="17165" y="13524"/>
                    <a:pt x="13492" y="17165"/>
                    <a:pt x="9026" y="17165"/>
                  </a:cubicBezTo>
                  <a:cubicBezTo>
                    <a:pt x="4529" y="17165"/>
                    <a:pt x="856" y="13524"/>
                    <a:pt x="856" y="9027"/>
                  </a:cubicBezTo>
                  <a:cubicBezTo>
                    <a:pt x="856" y="4530"/>
                    <a:pt x="4529" y="888"/>
                    <a:pt x="9026" y="888"/>
                  </a:cubicBezTo>
                  <a:close/>
                  <a:moveTo>
                    <a:pt x="9026" y="1"/>
                  </a:moveTo>
                  <a:cubicBezTo>
                    <a:pt x="4023" y="1"/>
                    <a:pt x="1" y="4055"/>
                    <a:pt x="1" y="9027"/>
                  </a:cubicBezTo>
                  <a:cubicBezTo>
                    <a:pt x="1" y="13999"/>
                    <a:pt x="4023" y="18052"/>
                    <a:pt x="9026" y="18052"/>
                  </a:cubicBezTo>
                  <a:cubicBezTo>
                    <a:pt x="13998" y="18052"/>
                    <a:pt x="18052" y="13999"/>
                    <a:pt x="18052" y="9027"/>
                  </a:cubicBezTo>
                  <a:cubicBezTo>
                    <a:pt x="18020" y="4055"/>
                    <a:pt x="13998" y="1"/>
                    <a:pt x="9026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3" name="Google Shape;2613;p30"/>
            <p:cNvSpPr/>
            <p:nvPr/>
          </p:nvSpPr>
          <p:spPr>
            <a:xfrm>
              <a:off x="1413825" y="2153250"/>
              <a:ext cx="5575" cy="30100"/>
            </a:xfrm>
            <a:custGeom>
              <a:avLst/>
              <a:gdLst/>
              <a:ahLst/>
              <a:cxnLst/>
              <a:rect l="l" t="t" r="r" b="b"/>
              <a:pathLst>
                <a:path w="223" h="1204" extrusionOk="0">
                  <a:moveTo>
                    <a:pt x="127" y="0"/>
                  </a:moveTo>
                  <a:cubicBezTo>
                    <a:pt x="64" y="0"/>
                    <a:pt x="1" y="32"/>
                    <a:pt x="1" y="95"/>
                  </a:cubicBezTo>
                  <a:lnTo>
                    <a:pt x="1" y="1108"/>
                  </a:lnTo>
                  <a:cubicBezTo>
                    <a:pt x="1" y="1172"/>
                    <a:pt x="64" y="1203"/>
                    <a:pt x="127" y="1203"/>
                  </a:cubicBezTo>
                  <a:cubicBezTo>
                    <a:pt x="159" y="1203"/>
                    <a:pt x="222" y="1172"/>
                    <a:pt x="222" y="1108"/>
                  </a:cubicBezTo>
                  <a:lnTo>
                    <a:pt x="222" y="95"/>
                  </a:lnTo>
                  <a:cubicBezTo>
                    <a:pt x="222" y="32"/>
                    <a:pt x="159" y="0"/>
                    <a:pt x="127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4" name="Google Shape;2614;p30"/>
            <p:cNvSpPr/>
            <p:nvPr/>
          </p:nvSpPr>
          <p:spPr>
            <a:xfrm>
              <a:off x="1413825" y="2517425"/>
              <a:ext cx="5575" cy="30900"/>
            </a:xfrm>
            <a:custGeom>
              <a:avLst/>
              <a:gdLst/>
              <a:ahLst/>
              <a:cxnLst/>
              <a:rect l="l" t="t" r="r" b="b"/>
              <a:pathLst>
                <a:path w="223" h="1236" extrusionOk="0">
                  <a:moveTo>
                    <a:pt x="127" y="1"/>
                  </a:moveTo>
                  <a:cubicBezTo>
                    <a:pt x="64" y="1"/>
                    <a:pt x="1" y="32"/>
                    <a:pt x="1" y="96"/>
                  </a:cubicBezTo>
                  <a:lnTo>
                    <a:pt x="1" y="1109"/>
                  </a:lnTo>
                  <a:cubicBezTo>
                    <a:pt x="1" y="1172"/>
                    <a:pt x="64" y="1236"/>
                    <a:pt x="127" y="1236"/>
                  </a:cubicBezTo>
                  <a:cubicBezTo>
                    <a:pt x="159" y="1236"/>
                    <a:pt x="222" y="1172"/>
                    <a:pt x="222" y="1109"/>
                  </a:cubicBezTo>
                  <a:lnTo>
                    <a:pt x="222" y="96"/>
                  </a:lnTo>
                  <a:cubicBezTo>
                    <a:pt x="222" y="32"/>
                    <a:pt x="159" y="1"/>
                    <a:pt x="127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5" name="Google Shape;2615;p30"/>
            <p:cNvSpPr/>
            <p:nvPr/>
          </p:nvSpPr>
          <p:spPr>
            <a:xfrm>
              <a:off x="1583250" y="2348000"/>
              <a:ext cx="30900" cy="5575"/>
            </a:xfrm>
            <a:custGeom>
              <a:avLst/>
              <a:gdLst/>
              <a:ahLst/>
              <a:cxnLst/>
              <a:rect l="l" t="t" r="r" b="b"/>
              <a:pathLst>
                <a:path w="1236" h="223" extrusionOk="0">
                  <a:moveTo>
                    <a:pt x="127" y="1"/>
                  </a:moveTo>
                  <a:cubicBezTo>
                    <a:pt x="64" y="1"/>
                    <a:pt x="1" y="32"/>
                    <a:pt x="1" y="96"/>
                  </a:cubicBezTo>
                  <a:cubicBezTo>
                    <a:pt x="1" y="159"/>
                    <a:pt x="64" y="222"/>
                    <a:pt x="127" y="222"/>
                  </a:cubicBezTo>
                  <a:lnTo>
                    <a:pt x="1141" y="222"/>
                  </a:lnTo>
                  <a:cubicBezTo>
                    <a:pt x="1173" y="222"/>
                    <a:pt x="1236" y="159"/>
                    <a:pt x="1236" y="96"/>
                  </a:cubicBezTo>
                  <a:cubicBezTo>
                    <a:pt x="1236" y="32"/>
                    <a:pt x="1173" y="1"/>
                    <a:pt x="114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6" name="Google Shape;2616;p30"/>
            <p:cNvSpPr/>
            <p:nvPr/>
          </p:nvSpPr>
          <p:spPr>
            <a:xfrm>
              <a:off x="1219050" y="2348000"/>
              <a:ext cx="30925" cy="5575"/>
            </a:xfrm>
            <a:custGeom>
              <a:avLst/>
              <a:gdLst/>
              <a:ahLst/>
              <a:cxnLst/>
              <a:rect l="l" t="t" r="r" b="b"/>
              <a:pathLst>
                <a:path w="1237" h="223" extrusionOk="0">
                  <a:moveTo>
                    <a:pt x="128" y="1"/>
                  </a:moveTo>
                  <a:cubicBezTo>
                    <a:pt x="64" y="1"/>
                    <a:pt x="1" y="32"/>
                    <a:pt x="1" y="96"/>
                  </a:cubicBezTo>
                  <a:cubicBezTo>
                    <a:pt x="1" y="159"/>
                    <a:pt x="64" y="222"/>
                    <a:pt x="128" y="222"/>
                  </a:cubicBezTo>
                  <a:lnTo>
                    <a:pt x="1109" y="222"/>
                  </a:lnTo>
                  <a:cubicBezTo>
                    <a:pt x="1173" y="222"/>
                    <a:pt x="1236" y="159"/>
                    <a:pt x="1236" y="96"/>
                  </a:cubicBezTo>
                  <a:cubicBezTo>
                    <a:pt x="1236" y="32"/>
                    <a:pt x="1173" y="1"/>
                    <a:pt x="1109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7" name="Google Shape;2617;p30"/>
            <p:cNvSpPr/>
            <p:nvPr/>
          </p:nvSpPr>
          <p:spPr>
            <a:xfrm>
              <a:off x="1534950" y="2212025"/>
              <a:ext cx="24575" cy="23175"/>
            </a:xfrm>
            <a:custGeom>
              <a:avLst/>
              <a:gdLst/>
              <a:ahLst/>
              <a:cxnLst/>
              <a:rect l="l" t="t" r="r" b="b"/>
              <a:pathLst>
                <a:path w="983" h="927" extrusionOk="0">
                  <a:moveTo>
                    <a:pt x="856" y="0"/>
                  </a:moveTo>
                  <a:cubicBezTo>
                    <a:pt x="832" y="0"/>
                    <a:pt x="808" y="8"/>
                    <a:pt x="793" y="24"/>
                  </a:cubicBezTo>
                  <a:lnTo>
                    <a:pt x="64" y="721"/>
                  </a:lnTo>
                  <a:cubicBezTo>
                    <a:pt x="33" y="784"/>
                    <a:pt x="1" y="848"/>
                    <a:pt x="64" y="879"/>
                  </a:cubicBezTo>
                  <a:cubicBezTo>
                    <a:pt x="80" y="911"/>
                    <a:pt x="104" y="927"/>
                    <a:pt x="132" y="927"/>
                  </a:cubicBezTo>
                  <a:cubicBezTo>
                    <a:pt x="159" y="927"/>
                    <a:pt x="191" y="911"/>
                    <a:pt x="223" y="879"/>
                  </a:cubicBezTo>
                  <a:lnTo>
                    <a:pt x="919" y="183"/>
                  </a:lnTo>
                  <a:cubicBezTo>
                    <a:pt x="983" y="151"/>
                    <a:pt x="983" y="88"/>
                    <a:pt x="919" y="24"/>
                  </a:cubicBezTo>
                  <a:cubicBezTo>
                    <a:pt x="904" y="8"/>
                    <a:pt x="880" y="0"/>
                    <a:pt x="856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8" name="Google Shape;2618;p30"/>
            <p:cNvSpPr/>
            <p:nvPr/>
          </p:nvSpPr>
          <p:spPr>
            <a:xfrm>
              <a:off x="1273700" y="2465850"/>
              <a:ext cx="24550" cy="22900"/>
            </a:xfrm>
            <a:custGeom>
              <a:avLst/>
              <a:gdLst/>
              <a:ahLst/>
              <a:cxnLst/>
              <a:rect l="l" t="t" r="r" b="b"/>
              <a:pathLst>
                <a:path w="982" h="916" extrusionOk="0">
                  <a:moveTo>
                    <a:pt x="838" y="0"/>
                  </a:moveTo>
                  <a:cubicBezTo>
                    <a:pt x="814" y="0"/>
                    <a:pt x="787" y="10"/>
                    <a:pt x="760" y="37"/>
                  </a:cubicBezTo>
                  <a:lnTo>
                    <a:pt x="63" y="734"/>
                  </a:lnTo>
                  <a:cubicBezTo>
                    <a:pt x="0" y="765"/>
                    <a:pt x="0" y="829"/>
                    <a:pt x="32" y="892"/>
                  </a:cubicBezTo>
                  <a:cubicBezTo>
                    <a:pt x="63" y="908"/>
                    <a:pt x="95" y="916"/>
                    <a:pt x="123" y="916"/>
                  </a:cubicBezTo>
                  <a:cubicBezTo>
                    <a:pt x="151" y="916"/>
                    <a:pt x="174" y="908"/>
                    <a:pt x="190" y="892"/>
                  </a:cubicBezTo>
                  <a:lnTo>
                    <a:pt x="919" y="195"/>
                  </a:lnTo>
                  <a:cubicBezTo>
                    <a:pt x="950" y="132"/>
                    <a:pt x="982" y="69"/>
                    <a:pt x="919" y="37"/>
                  </a:cubicBezTo>
                  <a:cubicBezTo>
                    <a:pt x="900" y="19"/>
                    <a:pt x="871" y="0"/>
                    <a:pt x="838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9" name="Google Shape;2619;p30"/>
            <p:cNvSpPr/>
            <p:nvPr/>
          </p:nvSpPr>
          <p:spPr>
            <a:xfrm>
              <a:off x="1531800" y="2469325"/>
              <a:ext cx="23775" cy="23400"/>
            </a:xfrm>
            <a:custGeom>
              <a:avLst/>
              <a:gdLst/>
              <a:ahLst/>
              <a:cxnLst/>
              <a:rect l="l" t="t" r="r" b="b"/>
              <a:pathLst>
                <a:path w="951" h="936" extrusionOk="0">
                  <a:moveTo>
                    <a:pt x="123" y="1"/>
                  </a:moveTo>
                  <a:cubicBezTo>
                    <a:pt x="95" y="1"/>
                    <a:pt x="64" y="9"/>
                    <a:pt x="32" y="25"/>
                  </a:cubicBezTo>
                  <a:cubicBezTo>
                    <a:pt x="0" y="88"/>
                    <a:pt x="0" y="151"/>
                    <a:pt x="32" y="183"/>
                  </a:cubicBezTo>
                  <a:lnTo>
                    <a:pt x="729" y="911"/>
                  </a:lnTo>
                  <a:cubicBezTo>
                    <a:pt x="760" y="927"/>
                    <a:pt x="792" y="935"/>
                    <a:pt x="820" y="935"/>
                  </a:cubicBezTo>
                  <a:cubicBezTo>
                    <a:pt x="847" y="935"/>
                    <a:pt x="871" y="927"/>
                    <a:pt x="887" y="911"/>
                  </a:cubicBezTo>
                  <a:cubicBezTo>
                    <a:pt x="919" y="880"/>
                    <a:pt x="950" y="816"/>
                    <a:pt x="887" y="753"/>
                  </a:cubicBezTo>
                  <a:lnTo>
                    <a:pt x="190" y="25"/>
                  </a:lnTo>
                  <a:cubicBezTo>
                    <a:pt x="174" y="9"/>
                    <a:pt x="151" y="1"/>
                    <a:pt x="12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0" name="Google Shape;2620;p30"/>
            <p:cNvSpPr/>
            <p:nvPr/>
          </p:nvSpPr>
          <p:spPr>
            <a:xfrm>
              <a:off x="1277650" y="2208075"/>
              <a:ext cx="23775" cy="23375"/>
            </a:xfrm>
            <a:custGeom>
              <a:avLst/>
              <a:gdLst/>
              <a:ahLst/>
              <a:cxnLst/>
              <a:rect l="l" t="t" r="r" b="b"/>
              <a:pathLst>
                <a:path w="951" h="935" extrusionOk="0">
                  <a:moveTo>
                    <a:pt x="131" y="0"/>
                  </a:moveTo>
                  <a:cubicBezTo>
                    <a:pt x="103" y="0"/>
                    <a:pt x="80" y="8"/>
                    <a:pt x="64" y="24"/>
                  </a:cubicBezTo>
                  <a:cubicBezTo>
                    <a:pt x="0" y="56"/>
                    <a:pt x="0" y="151"/>
                    <a:pt x="64" y="182"/>
                  </a:cubicBezTo>
                  <a:lnTo>
                    <a:pt x="761" y="911"/>
                  </a:lnTo>
                  <a:cubicBezTo>
                    <a:pt x="776" y="926"/>
                    <a:pt x="800" y="934"/>
                    <a:pt x="828" y="934"/>
                  </a:cubicBezTo>
                  <a:cubicBezTo>
                    <a:pt x="856" y="934"/>
                    <a:pt x="887" y="926"/>
                    <a:pt x="919" y="911"/>
                  </a:cubicBezTo>
                  <a:cubicBezTo>
                    <a:pt x="951" y="847"/>
                    <a:pt x="951" y="784"/>
                    <a:pt x="919" y="752"/>
                  </a:cubicBezTo>
                  <a:lnTo>
                    <a:pt x="222" y="24"/>
                  </a:lnTo>
                  <a:cubicBezTo>
                    <a:pt x="191" y="8"/>
                    <a:pt x="159" y="0"/>
                    <a:pt x="131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1" name="Google Shape;2621;p30"/>
            <p:cNvSpPr/>
            <p:nvPr/>
          </p:nvSpPr>
          <p:spPr>
            <a:xfrm>
              <a:off x="1569800" y="2272475"/>
              <a:ext cx="29325" cy="14900"/>
            </a:xfrm>
            <a:custGeom>
              <a:avLst/>
              <a:gdLst/>
              <a:ahLst/>
              <a:cxnLst/>
              <a:rect l="l" t="t" r="r" b="b"/>
              <a:pathLst>
                <a:path w="1173" h="596" extrusionOk="0">
                  <a:moveTo>
                    <a:pt x="1063" y="1"/>
                  </a:moveTo>
                  <a:cubicBezTo>
                    <a:pt x="1048" y="1"/>
                    <a:pt x="1031" y="5"/>
                    <a:pt x="1014" y="13"/>
                  </a:cubicBezTo>
                  <a:lnTo>
                    <a:pt x="95" y="393"/>
                  </a:lnTo>
                  <a:cubicBezTo>
                    <a:pt x="32" y="425"/>
                    <a:pt x="0" y="488"/>
                    <a:pt x="32" y="520"/>
                  </a:cubicBezTo>
                  <a:cubicBezTo>
                    <a:pt x="55" y="566"/>
                    <a:pt x="95" y="595"/>
                    <a:pt x="128" y="595"/>
                  </a:cubicBezTo>
                  <a:cubicBezTo>
                    <a:pt x="139" y="595"/>
                    <a:pt x="150" y="592"/>
                    <a:pt x="159" y="583"/>
                  </a:cubicBezTo>
                  <a:lnTo>
                    <a:pt x="1109" y="203"/>
                  </a:lnTo>
                  <a:cubicBezTo>
                    <a:pt x="1140" y="171"/>
                    <a:pt x="1172" y="108"/>
                    <a:pt x="1140" y="76"/>
                  </a:cubicBezTo>
                  <a:cubicBezTo>
                    <a:pt x="1140" y="30"/>
                    <a:pt x="1107" y="1"/>
                    <a:pt x="106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2" name="Google Shape;2622;p30"/>
            <p:cNvSpPr/>
            <p:nvPr/>
          </p:nvSpPr>
          <p:spPr>
            <a:xfrm>
              <a:off x="1234100" y="2413400"/>
              <a:ext cx="29325" cy="15375"/>
            </a:xfrm>
            <a:custGeom>
              <a:avLst/>
              <a:gdLst/>
              <a:ahLst/>
              <a:cxnLst/>
              <a:rect l="l" t="t" r="r" b="b"/>
              <a:pathLst>
                <a:path w="1173" h="615" extrusionOk="0">
                  <a:moveTo>
                    <a:pt x="1045" y="1"/>
                  </a:moveTo>
                  <a:cubicBezTo>
                    <a:pt x="1033" y="1"/>
                    <a:pt x="1023" y="5"/>
                    <a:pt x="1014" y="13"/>
                  </a:cubicBezTo>
                  <a:lnTo>
                    <a:pt x="64" y="393"/>
                  </a:lnTo>
                  <a:cubicBezTo>
                    <a:pt x="32" y="425"/>
                    <a:pt x="1" y="488"/>
                    <a:pt x="32" y="551"/>
                  </a:cubicBezTo>
                  <a:cubicBezTo>
                    <a:pt x="32" y="583"/>
                    <a:pt x="96" y="615"/>
                    <a:pt x="159" y="615"/>
                  </a:cubicBezTo>
                  <a:lnTo>
                    <a:pt x="1077" y="203"/>
                  </a:lnTo>
                  <a:cubicBezTo>
                    <a:pt x="1141" y="203"/>
                    <a:pt x="1172" y="108"/>
                    <a:pt x="1141" y="76"/>
                  </a:cubicBezTo>
                  <a:cubicBezTo>
                    <a:pt x="1118" y="30"/>
                    <a:pt x="1077" y="1"/>
                    <a:pt x="104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3" name="Google Shape;2623;p30"/>
            <p:cNvSpPr/>
            <p:nvPr/>
          </p:nvSpPr>
          <p:spPr>
            <a:xfrm>
              <a:off x="1479550" y="2503975"/>
              <a:ext cx="15850" cy="28825"/>
            </a:xfrm>
            <a:custGeom>
              <a:avLst/>
              <a:gdLst/>
              <a:ahLst/>
              <a:cxnLst/>
              <a:rect l="l" t="t" r="r" b="b"/>
              <a:pathLst>
                <a:path w="634" h="1153" extrusionOk="0">
                  <a:moveTo>
                    <a:pt x="63" y="0"/>
                  </a:moveTo>
                  <a:cubicBezTo>
                    <a:pt x="0" y="32"/>
                    <a:pt x="0" y="95"/>
                    <a:pt x="0" y="159"/>
                  </a:cubicBezTo>
                  <a:lnTo>
                    <a:pt x="412" y="1077"/>
                  </a:lnTo>
                  <a:cubicBezTo>
                    <a:pt x="412" y="1123"/>
                    <a:pt x="446" y="1153"/>
                    <a:pt x="489" y="1153"/>
                  </a:cubicBezTo>
                  <a:cubicBezTo>
                    <a:pt x="505" y="1153"/>
                    <a:pt x="522" y="1149"/>
                    <a:pt x="538" y="1140"/>
                  </a:cubicBezTo>
                  <a:cubicBezTo>
                    <a:pt x="602" y="1109"/>
                    <a:pt x="633" y="1045"/>
                    <a:pt x="602" y="1014"/>
                  </a:cubicBezTo>
                  <a:lnTo>
                    <a:pt x="222" y="64"/>
                  </a:lnTo>
                  <a:cubicBezTo>
                    <a:pt x="190" y="32"/>
                    <a:pt x="127" y="0"/>
                    <a:pt x="6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4" name="Google Shape;2624;p30"/>
            <p:cNvSpPr/>
            <p:nvPr/>
          </p:nvSpPr>
          <p:spPr>
            <a:xfrm>
              <a:off x="1337825" y="2167975"/>
              <a:ext cx="15850" cy="28825"/>
            </a:xfrm>
            <a:custGeom>
              <a:avLst/>
              <a:gdLst/>
              <a:ahLst/>
              <a:cxnLst/>
              <a:rect l="l" t="t" r="r" b="b"/>
              <a:pathLst>
                <a:path w="634" h="1153" extrusionOk="0">
                  <a:moveTo>
                    <a:pt x="145" y="0"/>
                  </a:moveTo>
                  <a:cubicBezTo>
                    <a:pt x="129" y="0"/>
                    <a:pt x="112" y="4"/>
                    <a:pt x="95" y="13"/>
                  </a:cubicBezTo>
                  <a:cubicBezTo>
                    <a:pt x="32" y="44"/>
                    <a:pt x="0" y="108"/>
                    <a:pt x="32" y="171"/>
                  </a:cubicBezTo>
                  <a:lnTo>
                    <a:pt x="412" y="1089"/>
                  </a:lnTo>
                  <a:cubicBezTo>
                    <a:pt x="444" y="1153"/>
                    <a:pt x="507" y="1153"/>
                    <a:pt x="570" y="1153"/>
                  </a:cubicBezTo>
                  <a:cubicBezTo>
                    <a:pt x="634" y="1121"/>
                    <a:pt x="634" y="1058"/>
                    <a:pt x="634" y="994"/>
                  </a:cubicBezTo>
                  <a:lnTo>
                    <a:pt x="222" y="76"/>
                  </a:lnTo>
                  <a:cubicBezTo>
                    <a:pt x="222" y="30"/>
                    <a:pt x="188" y="0"/>
                    <a:pt x="145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5" name="Google Shape;2625;p30"/>
            <p:cNvSpPr/>
            <p:nvPr/>
          </p:nvSpPr>
          <p:spPr>
            <a:xfrm>
              <a:off x="1569000" y="2415000"/>
              <a:ext cx="29325" cy="15675"/>
            </a:xfrm>
            <a:custGeom>
              <a:avLst/>
              <a:gdLst/>
              <a:ahLst/>
              <a:cxnLst/>
              <a:rect l="l" t="t" r="r" b="b"/>
              <a:pathLst>
                <a:path w="1173" h="627" extrusionOk="0">
                  <a:moveTo>
                    <a:pt x="140" y="0"/>
                  </a:moveTo>
                  <a:cubicBezTo>
                    <a:pt x="96" y="0"/>
                    <a:pt x="56" y="29"/>
                    <a:pt x="32" y="76"/>
                  </a:cubicBezTo>
                  <a:cubicBezTo>
                    <a:pt x="1" y="139"/>
                    <a:pt x="32" y="202"/>
                    <a:pt x="96" y="234"/>
                  </a:cubicBezTo>
                  <a:lnTo>
                    <a:pt x="1014" y="614"/>
                  </a:lnTo>
                  <a:cubicBezTo>
                    <a:pt x="1031" y="623"/>
                    <a:pt x="1048" y="627"/>
                    <a:pt x="1064" y="627"/>
                  </a:cubicBezTo>
                  <a:cubicBezTo>
                    <a:pt x="1107" y="627"/>
                    <a:pt x="1141" y="597"/>
                    <a:pt x="1141" y="551"/>
                  </a:cubicBezTo>
                  <a:cubicBezTo>
                    <a:pt x="1172" y="519"/>
                    <a:pt x="1141" y="456"/>
                    <a:pt x="1109" y="424"/>
                  </a:cubicBezTo>
                  <a:lnTo>
                    <a:pt x="191" y="12"/>
                  </a:lnTo>
                  <a:cubicBezTo>
                    <a:pt x="174" y="4"/>
                    <a:pt x="157" y="0"/>
                    <a:pt x="140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6" name="Google Shape;2626;p30"/>
            <p:cNvSpPr/>
            <p:nvPr/>
          </p:nvSpPr>
          <p:spPr>
            <a:xfrm>
              <a:off x="1234900" y="2270100"/>
              <a:ext cx="29325" cy="15700"/>
            </a:xfrm>
            <a:custGeom>
              <a:avLst/>
              <a:gdLst/>
              <a:ahLst/>
              <a:cxnLst/>
              <a:rect l="l" t="t" r="r" b="b"/>
              <a:pathLst>
                <a:path w="1173" h="628" extrusionOk="0">
                  <a:moveTo>
                    <a:pt x="123" y="1"/>
                  </a:moveTo>
                  <a:cubicBezTo>
                    <a:pt x="83" y="1"/>
                    <a:pt x="32" y="30"/>
                    <a:pt x="32" y="76"/>
                  </a:cubicBezTo>
                  <a:cubicBezTo>
                    <a:pt x="0" y="140"/>
                    <a:pt x="32" y="203"/>
                    <a:pt x="64" y="203"/>
                  </a:cubicBezTo>
                  <a:lnTo>
                    <a:pt x="1014" y="615"/>
                  </a:lnTo>
                  <a:cubicBezTo>
                    <a:pt x="1022" y="623"/>
                    <a:pt x="1033" y="627"/>
                    <a:pt x="1045" y="627"/>
                  </a:cubicBezTo>
                  <a:cubicBezTo>
                    <a:pt x="1077" y="627"/>
                    <a:pt x="1117" y="598"/>
                    <a:pt x="1140" y="551"/>
                  </a:cubicBezTo>
                  <a:cubicBezTo>
                    <a:pt x="1172" y="520"/>
                    <a:pt x="1140" y="425"/>
                    <a:pt x="1077" y="425"/>
                  </a:cubicBezTo>
                  <a:lnTo>
                    <a:pt x="159" y="13"/>
                  </a:lnTo>
                  <a:cubicBezTo>
                    <a:pt x="150" y="5"/>
                    <a:pt x="137" y="1"/>
                    <a:pt x="12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7" name="Google Shape;2627;p30"/>
            <p:cNvSpPr/>
            <p:nvPr/>
          </p:nvSpPr>
          <p:spPr>
            <a:xfrm>
              <a:off x="1335450" y="2503175"/>
              <a:ext cx="16650" cy="28850"/>
            </a:xfrm>
            <a:custGeom>
              <a:avLst/>
              <a:gdLst/>
              <a:ahLst/>
              <a:cxnLst/>
              <a:rect l="l" t="t" r="r" b="b"/>
              <a:pathLst>
                <a:path w="666" h="1154" extrusionOk="0">
                  <a:moveTo>
                    <a:pt x="602" y="1"/>
                  </a:moveTo>
                  <a:cubicBezTo>
                    <a:pt x="539" y="1"/>
                    <a:pt x="475" y="1"/>
                    <a:pt x="444" y="64"/>
                  </a:cubicBezTo>
                  <a:lnTo>
                    <a:pt x="32" y="982"/>
                  </a:lnTo>
                  <a:cubicBezTo>
                    <a:pt x="0" y="1046"/>
                    <a:pt x="32" y="1109"/>
                    <a:pt x="95" y="1141"/>
                  </a:cubicBezTo>
                  <a:cubicBezTo>
                    <a:pt x="112" y="1149"/>
                    <a:pt x="129" y="1153"/>
                    <a:pt x="146" y="1153"/>
                  </a:cubicBezTo>
                  <a:cubicBezTo>
                    <a:pt x="190" y="1153"/>
                    <a:pt x="230" y="1124"/>
                    <a:pt x="254" y="1077"/>
                  </a:cubicBezTo>
                  <a:lnTo>
                    <a:pt x="634" y="159"/>
                  </a:lnTo>
                  <a:cubicBezTo>
                    <a:pt x="665" y="96"/>
                    <a:pt x="634" y="32"/>
                    <a:pt x="602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8" name="Google Shape;2628;p30"/>
            <p:cNvSpPr/>
            <p:nvPr/>
          </p:nvSpPr>
          <p:spPr>
            <a:xfrm>
              <a:off x="1481125" y="2168750"/>
              <a:ext cx="15850" cy="29150"/>
            </a:xfrm>
            <a:custGeom>
              <a:avLst/>
              <a:gdLst/>
              <a:ahLst/>
              <a:cxnLst/>
              <a:rect l="l" t="t" r="r" b="b"/>
              <a:pathLst>
                <a:path w="634" h="1166" extrusionOk="0">
                  <a:moveTo>
                    <a:pt x="520" y="1"/>
                  </a:moveTo>
                  <a:cubicBezTo>
                    <a:pt x="475" y="1"/>
                    <a:pt x="435" y="30"/>
                    <a:pt x="412" y="77"/>
                  </a:cubicBezTo>
                  <a:lnTo>
                    <a:pt x="0" y="995"/>
                  </a:lnTo>
                  <a:cubicBezTo>
                    <a:pt x="0" y="1058"/>
                    <a:pt x="0" y="1122"/>
                    <a:pt x="64" y="1153"/>
                  </a:cubicBezTo>
                  <a:cubicBezTo>
                    <a:pt x="81" y="1162"/>
                    <a:pt x="98" y="1166"/>
                    <a:pt x="114" y="1166"/>
                  </a:cubicBezTo>
                  <a:cubicBezTo>
                    <a:pt x="159" y="1166"/>
                    <a:pt x="199" y="1137"/>
                    <a:pt x="222" y="1090"/>
                  </a:cubicBezTo>
                  <a:lnTo>
                    <a:pt x="634" y="172"/>
                  </a:lnTo>
                  <a:cubicBezTo>
                    <a:pt x="634" y="108"/>
                    <a:pt x="634" y="45"/>
                    <a:pt x="570" y="13"/>
                  </a:cubicBezTo>
                  <a:cubicBezTo>
                    <a:pt x="554" y="5"/>
                    <a:pt x="537" y="1"/>
                    <a:pt x="52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9" name="Google Shape;2629;p30"/>
            <p:cNvSpPr/>
            <p:nvPr/>
          </p:nvSpPr>
          <p:spPr>
            <a:xfrm>
              <a:off x="1394825" y="2237150"/>
              <a:ext cx="43575" cy="191625"/>
            </a:xfrm>
            <a:custGeom>
              <a:avLst/>
              <a:gdLst/>
              <a:ahLst/>
              <a:cxnLst/>
              <a:rect l="l" t="t" r="r" b="b"/>
              <a:pathLst>
                <a:path w="1743" h="7665" extrusionOk="0">
                  <a:moveTo>
                    <a:pt x="887" y="1"/>
                  </a:moveTo>
                  <a:lnTo>
                    <a:pt x="1" y="7665"/>
                  </a:lnTo>
                  <a:lnTo>
                    <a:pt x="1742" y="7665"/>
                  </a:lnTo>
                  <a:lnTo>
                    <a:pt x="887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0" name="Google Shape;2630;p30"/>
            <p:cNvSpPr/>
            <p:nvPr/>
          </p:nvSpPr>
          <p:spPr>
            <a:xfrm>
              <a:off x="1397200" y="2331375"/>
              <a:ext cx="38825" cy="38025"/>
            </a:xfrm>
            <a:custGeom>
              <a:avLst/>
              <a:gdLst/>
              <a:ahLst/>
              <a:cxnLst/>
              <a:rect l="l" t="t" r="r" b="b"/>
              <a:pathLst>
                <a:path w="1553" h="1521" extrusionOk="0">
                  <a:moveTo>
                    <a:pt x="792" y="1"/>
                  </a:moveTo>
                  <a:cubicBezTo>
                    <a:pt x="349" y="1"/>
                    <a:pt x="1" y="349"/>
                    <a:pt x="1" y="761"/>
                  </a:cubicBezTo>
                  <a:cubicBezTo>
                    <a:pt x="1" y="1172"/>
                    <a:pt x="349" y="1521"/>
                    <a:pt x="792" y="1521"/>
                  </a:cubicBezTo>
                  <a:cubicBezTo>
                    <a:pt x="1204" y="1521"/>
                    <a:pt x="1552" y="1172"/>
                    <a:pt x="1552" y="761"/>
                  </a:cubicBezTo>
                  <a:cubicBezTo>
                    <a:pt x="1552" y="349"/>
                    <a:pt x="1204" y="1"/>
                    <a:pt x="792" y="1"/>
                  </a:cubicBezTo>
                  <a:close/>
                </a:path>
              </a:pathLst>
            </a:custGeom>
            <a:solidFill>
              <a:srgbClr val="DD91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1" name="Google Shape;2631;p30"/>
            <p:cNvSpPr/>
            <p:nvPr/>
          </p:nvSpPr>
          <p:spPr>
            <a:xfrm>
              <a:off x="1405900" y="2340075"/>
              <a:ext cx="21400" cy="20625"/>
            </a:xfrm>
            <a:custGeom>
              <a:avLst/>
              <a:gdLst/>
              <a:ahLst/>
              <a:cxnLst/>
              <a:rect l="l" t="t" r="r" b="b"/>
              <a:pathLst>
                <a:path w="856" h="825" extrusionOk="0">
                  <a:moveTo>
                    <a:pt x="444" y="1"/>
                  </a:moveTo>
                  <a:cubicBezTo>
                    <a:pt x="191" y="1"/>
                    <a:pt x="1" y="191"/>
                    <a:pt x="1" y="413"/>
                  </a:cubicBezTo>
                  <a:cubicBezTo>
                    <a:pt x="1" y="634"/>
                    <a:pt x="191" y="824"/>
                    <a:pt x="444" y="824"/>
                  </a:cubicBezTo>
                  <a:cubicBezTo>
                    <a:pt x="666" y="824"/>
                    <a:pt x="856" y="634"/>
                    <a:pt x="856" y="413"/>
                  </a:cubicBezTo>
                  <a:cubicBezTo>
                    <a:pt x="856" y="191"/>
                    <a:pt x="666" y="1"/>
                    <a:pt x="444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2" name="Google Shape;2632;p30"/>
            <p:cNvSpPr/>
            <p:nvPr/>
          </p:nvSpPr>
          <p:spPr>
            <a:xfrm>
              <a:off x="1340200" y="2032900"/>
              <a:ext cx="152025" cy="29325"/>
            </a:xfrm>
            <a:custGeom>
              <a:avLst/>
              <a:gdLst/>
              <a:ahLst/>
              <a:cxnLst/>
              <a:rect l="l" t="t" r="r" b="b"/>
              <a:pathLst>
                <a:path w="6081" h="1173" extrusionOk="0">
                  <a:moveTo>
                    <a:pt x="0" y="0"/>
                  </a:moveTo>
                  <a:lnTo>
                    <a:pt x="0" y="1172"/>
                  </a:lnTo>
                  <a:lnTo>
                    <a:pt x="6081" y="1172"/>
                  </a:lnTo>
                  <a:lnTo>
                    <a:pt x="6081" y="0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3" name="Google Shape;2633;p30"/>
            <p:cNvSpPr/>
            <p:nvPr/>
          </p:nvSpPr>
          <p:spPr>
            <a:xfrm>
              <a:off x="1366325" y="2062200"/>
              <a:ext cx="101375" cy="11900"/>
            </a:xfrm>
            <a:custGeom>
              <a:avLst/>
              <a:gdLst/>
              <a:ahLst/>
              <a:cxnLst/>
              <a:rect l="l" t="t" r="r" b="b"/>
              <a:pathLst>
                <a:path w="4055" h="476" extrusionOk="0">
                  <a:moveTo>
                    <a:pt x="0" y="0"/>
                  </a:moveTo>
                  <a:lnTo>
                    <a:pt x="0" y="475"/>
                  </a:lnTo>
                  <a:lnTo>
                    <a:pt x="4054" y="475"/>
                  </a:lnTo>
                  <a:lnTo>
                    <a:pt x="4054" y="0"/>
                  </a:ln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4" name="Google Shape;2634;p30"/>
            <p:cNvSpPr/>
            <p:nvPr/>
          </p:nvSpPr>
          <p:spPr>
            <a:xfrm>
              <a:off x="2855550" y="3039150"/>
              <a:ext cx="186875" cy="170050"/>
            </a:xfrm>
            <a:custGeom>
              <a:avLst/>
              <a:gdLst/>
              <a:ahLst/>
              <a:cxnLst/>
              <a:rect l="l" t="t" r="r" b="b"/>
              <a:pathLst>
                <a:path w="7475" h="6802" extrusionOk="0">
                  <a:moveTo>
                    <a:pt x="3728" y="1"/>
                  </a:moveTo>
                  <a:cubicBezTo>
                    <a:pt x="2186" y="1"/>
                    <a:pt x="796" y="1057"/>
                    <a:pt x="444" y="2598"/>
                  </a:cubicBezTo>
                  <a:cubicBezTo>
                    <a:pt x="1" y="4435"/>
                    <a:pt x="1141" y="6272"/>
                    <a:pt x="2946" y="6715"/>
                  </a:cubicBezTo>
                  <a:cubicBezTo>
                    <a:pt x="3204" y="6773"/>
                    <a:pt x="3463" y="6801"/>
                    <a:pt x="3717" y="6801"/>
                  </a:cubicBezTo>
                  <a:cubicBezTo>
                    <a:pt x="5271" y="6801"/>
                    <a:pt x="6678" y="5760"/>
                    <a:pt x="7031" y="4182"/>
                  </a:cubicBezTo>
                  <a:cubicBezTo>
                    <a:pt x="7475" y="2345"/>
                    <a:pt x="6335" y="508"/>
                    <a:pt x="4530" y="97"/>
                  </a:cubicBezTo>
                  <a:cubicBezTo>
                    <a:pt x="4261" y="32"/>
                    <a:pt x="3993" y="1"/>
                    <a:pt x="372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5" name="Google Shape;2635;p30"/>
            <p:cNvSpPr/>
            <p:nvPr/>
          </p:nvSpPr>
          <p:spPr>
            <a:xfrm>
              <a:off x="2874575" y="3056275"/>
              <a:ext cx="148850" cy="135250"/>
            </a:xfrm>
            <a:custGeom>
              <a:avLst/>
              <a:gdLst/>
              <a:ahLst/>
              <a:cxnLst/>
              <a:rect l="l" t="t" r="r" b="b"/>
              <a:pathLst>
                <a:path w="5954" h="5410" extrusionOk="0">
                  <a:moveTo>
                    <a:pt x="2940" y="1"/>
                  </a:moveTo>
                  <a:cubicBezTo>
                    <a:pt x="1718" y="1"/>
                    <a:pt x="614" y="829"/>
                    <a:pt x="317" y="2072"/>
                  </a:cubicBezTo>
                  <a:cubicBezTo>
                    <a:pt x="0" y="3528"/>
                    <a:pt x="887" y="4985"/>
                    <a:pt x="2344" y="5334"/>
                  </a:cubicBezTo>
                  <a:cubicBezTo>
                    <a:pt x="2557" y="5385"/>
                    <a:pt x="2771" y="5409"/>
                    <a:pt x="2982" y="5409"/>
                  </a:cubicBezTo>
                  <a:cubicBezTo>
                    <a:pt x="4204" y="5409"/>
                    <a:pt x="5308" y="4581"/>
                    <a:pt x="5605" y="3338"/>
                  </a:cubicBezTo>
                  <a:cubicBezTo>
                    <a:pt x="5954" y="1882"/>
                    <a:pt x="5035" y="425"/>
                    <a:pt x="3579" y="77"/>
                  </a:cubicBezTo>
                  <a:cubicBezTo>
                    <a:pt x="3365" y="25"/>
                    <a:pt x="3151" y="1"/>
                    <a:pt x="294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6" name="Google Shape;2636;p30"/>
            <p:cNvSpPr/>
            <p:nvPr/>
          </p:nvSpPr>
          <p:spPr>
            <a:xfrm>
              <a:off x="2876950" y="3081125"/>
              <a:ext cx="137775" cy="110775"/>
            </a:xfrm>
            <a:custGeom>
              <a:avLst/>
              <a:gdLst/>
              <a:ahLst/>
              <a:cxnLst/>
              <a:rect l="l" t="t" r="r" b="b"/>
              <a:pathLst>
                <a:path w="5511" h="4431" extrusionOk="0">
                  <a:moveTo>
                    <a:pt x="792" y="1"/>
                  </a:moveTo>
                  <a:lnTo>
                    <a:pt x="792" y="1"/>
                  </a:lnTo>
                  <a:cubicBezTo>
                    <a:pt x="190" y="729"/>
                    <a:pt x="0" y="1774"/>
                    <a:pt x="380" y="2724"/>
                  </a:cubicBezTo>
                  <a:cubicBezTo>
                    <a:pt x="792" y="3791"/>
                    <a:pt x="1817" y="4431"/>
                    <a:pt x="2899" y="4431"/>
                  </a:cubicBezTo>
                  <a:cubicBezTo>
                    <a:pt x="3231" y="4431"/>
                    <a:pt x="3568" y="4371"/>
                    <a:pt x="3895" y="4245"/>
                  </a:cubicBezTo>
                  <a:cubicBezTo>
                    <a:pt x="4719" y="3896"/>
                    <a:pt x="5289" y="3200"/>
                    <a:pt x="5510" y="2376"/>
                  </a:cubicBezTo>
                  <a:lnTo>
                    <a:pt x="5510" y="2376"/>
                  </a:lnTo>
                  <a:cubicBezTo>
                    <a:pt x="5225" y="2724"/>
                    <a:pt x="4845" y="3010"/>
                    <a:pt x="4402" y="3168"/>
                  </a:cubicBezTo>
                  <a:cubicBezTo>
                    <a:pt x="4071" y="3306"/>
                    <a:pt x="3727" y="3372"/>
                    <a:pt x="3388" y="3372"/>
                  </a:cubicBezTo>
                  <a:cubicBezTo>
                    <a:pt x="2331" y="3372"/>
                    <a:pt x="1318" y="2734"/>
                    <a:pt x="887" y="1679"/>
                  </a:cubicBezTo>
                  <a:cubicBezTo>
                    <a:pt x="665" y="1109"/>
                    <a:pt x="633" y="539"/>
                    <a:pt x="792" y="1"/>
                  </a:cubicBez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7" name="Google Shape;2637;p30"/>
            <p:cNvSpPr/>
            <p:nvPr/>
          </p:nvSpPr>
          <p:spPr>
            <a:xfrm>
              <a:off x="2925225" y="2517425"/>
              <a:ext cx="57825" cy="58625"/>
            </a:xfrm>
            <a:custGeom>
              <a:avLst/>
              <a:gdLst/>
              <a:ahLst/>
              <a:cxnLst/>
              <a:rect l="l" t="t" r="r" b="b"/>
              <a:pathLst>
                <a:path w="2313" h="2345" extrusionOk="0">
                  <a:moveTo>
                    <a:pt x="1173" y="1"/>
                  </a:moveTo>
                  <a:cubicBezTo>
                    <a:pt x="508" y="1"/>
                    <a:pt x="1" y="539"/>
                    <a:pt x="1" y="1172"/>
                  </a:cubicBezTo>
                  <a:cubicBezTo>
                    <a:pt x="1" y="1806"/>
                    <a:pt x="508" y="2344"/>
                    <a:pt x="1173" y="2344"/>
                  </a:cubicBezTo>
                  <a:cubicBezTo>
                    <a:pt x="1806" y="2344"/>
                    <a:pt x="2313" y="1806"/>
                    <a:pt x="2313" y="1172"/>
                  </a:cubicBezTo>
                  <a:cubicBezTo>
                    <a:pt x="2313" y="539"/>
                    <a:pt x="1806" y="1"/>
                    <a:pt x="117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8" name="Google Shape;2638;p30"/>
            <p:cNvSpPr/>
            <p:nvPr/>
          </p:nvSpPr>
          <p:spPr>
            <a:xfrm>
              <a:off x="2925225" y="2647275"/>
              <a:ext cx="57825" cy="57825"/>
            </a:xfrm>
            <a:custGeom>
              <a:avLst/>
              <a:gdLst/>
              <a:ahLst/>
              <a:cxnLst/>
              <a:rect l="l" t="t" r="r" b="b"/>
              <a:pathLst>
                <a:path w="2313" h="2313" extrusionOk="0">
                  <a:moveTo>
                    <a:pt x="1173" y="0"/>
                  </a:moveTo>
                  <a:cubicBezTo>
                    <a:pt x="508" y="0"/>
                    <a:pt x="1" y="507"/>
                    <a:pt x="1" y="1172"/>
                  </a:cubicBezTo>
                  <a:cubicBezTo>
                    <a:pt x="1" y="1806"/>
                    <a:pt x="508" y="2312"/>
                    <a:pt x="1173" y="2312"/>
                  </a:cubicBezTo>
                  <a:cubicBezTo>
                    <a:pt x="1806" y="2312"/>
                    <a:pt x="2313" y="1806"/>
                    <a:pt x="2313" y="1172"/>
                  </a:cubicBezTo>
                  <a:cubicBezTo>
                    <a:pt x="2313" y="507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9" name="Google Shape;2639;p30"/>
            <p:cNvSpPr/>
            <p:nvPr/>
          </p:nvSpPr>
          <p:spPr>
            <a:xfrm>
              <a:off x="2925225" y="2776325"/>
              <a:ext cx="57825" cy="58600"/>
            </a:xfrm>
            <a:custGeom>
              <a:avLst/>
              <a:gdLst/>
              <a:ahLst/>
              <a:cxnLst/>
              <a:rect l="l" t="t" r="r" b="b"/>
              <a:pathLst>
                <a:path w="2313" h="2344" extrusionOk="0">
                  <a:moveTo>
                    <a:pt x="1173" y="0"/>
                  </a:moveTo>
                  <a:cubicBezTo>
                    <a:pt x="508" y="0"/>
                    <a:pt x="1" y="539"/>
                    <a:pt x="1" y="1172"/>
                  </a:cubicBezTo>
                  <a:cubicBezTo>
                    <a:pt x="1" y="1806"/>
                    <a:pt x="508" y="2344"/>
                    <a:pt x="1173" y="2344"/>
                  </a:cubicBezTo>
                  <a:cubicBezTo>
                    <a:pt x="1806" y="2344"/>
                    <a:pt x="2313" y="1806"/>
                    <a:pt x="2313" y="1172"/>
                  </a:cubicBezTo>
                  <a:cubicBezTo>
                    <a:pt x="2313" y="539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0" name="Google Shape;2640;p30"/>
            <p:cNvSpPr/>
            <p:nvPr/>
          </p:nvSpPr>
          <p:spPr>
            <a:xfrm>
              <a:off x="2925225" y="2906175"/>
              <a:ext cx="57825" cy="57800"/>
            </a:xfrm>
            <a:custGeom>
              <a:avLst/>
              <a:gdLst/>
              <a:ahLst/>
              <a:cxnLst/>
              <a:rect l="l" t="t" r="r" b="b"/>
              <a:pathLst>
                <a:path w="2313" h="2312" extrusionOk="0">
                  <a:moveTo>
                    <a:pt x="1173" y="0"/>
                  </a:moveTo>
                  <a:cubicBezTo>
                    <a:pt x="508" y="0"/>
                    <a:pt x="1" y="507"/>
                    <a:pt x="1" y="1172"/>
                  </a:cubicBezTo>
                  <a:cubicBezTo>
                    <a:pt x="1" y="1805"/>
                    <a:pt x="508" y="2312"/>
                    <a:pt x="1173" y="2312"/>
                  </a:cubicBezTo>
                  <a:cubicBezTo>
                    <a:pt x="1806" y="2312"/>
                    <a:pt x="2313" y="1805"/>
                    <a:pt x="2313" y="1172"/>
                  </a:cubicBezTo>
                  <a:cubicBezTo>
                    <a:pt x="2313" y="507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1" name="Google Shape;2641;p30"/>
            <p:cNvSpPr/>
            <p:nvPr/>
          </p:nvSpPr>
          <p:spPr>
            <a:xfrm>
              <a:off x="4385975" y="3022550"/>
              <a:ext cx="176575" cy="176575"/>
            </a:xfrm>
            <a:custGeom>
              <a:avLst/>
              <a:gdLst/>
              <a:ahLst/>
              <a:cxnLst/>
              <a:rect l="l" t="t" r="r" b="b"/>
              <a:pathLst>
                <a:path w="7063" h="7063" extrusionOk="0">
                  <a:moveTo>
                    <a:pt x="3547" y="0"/>
                  </a:moveTo>
                  <a:cubicBezTo>
                    <a:pt x="1584" y="0"/>
                    <a:pt x="0" y="1584"/>
                    <a:pt x="0" y="3516"/>
                  </a:cubicBezTo>
                  <a:cubicBezTo>
                    <a:pt x="0" y="5479"/>
                    <a:pt x="1584" y="7063"/>
                    <a:pt x="3547" y="7063"/>
                  </a:cubicBezTo>
                  <a:cubicBezTo>
                    <a:pt x="5479" y="7063"/>
                    <a:pt x="7062" y="5479"/>
                    <a:pt x="7062" y="3516"/>
                  </a:cubicBezTo>
                  <a:cubicBezTo>
                    <a:pt x="7062" y="1584"/>
                    <a:pt x="5479" y="0"/>
                    <a:pt x="35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2" name="Google Shape;2642;p30"/>
            <p:cNvSpPr/>
            <p:nvPr/>
          </p:nvSpPr>
          <p:spPr>
            <a:xfrm>
              <a:off x="4404175" y="3039975"/>
              <a:ext cx="140175" cy="140950"/>
            </a:xfrm>
            <a:custGeom>
              <a:avLst/>
              <a:gdLst/>
              <a:ahLst/>
              <a:cxnLst/>
              <a:rect l="l" t="t" r="r" b="b"/>
              <a:pathLst>
                <a:path w="5607" h="5638" extrusionOk="0">
                  <a:moveTo>
                    <a:pt x="2819" y="0"/>
                  </a:moveTo>
                  <a:cubicBezTo>
                    <a:pt x="1236" y="0"/>
                    <a:pt x="1" y="1267"/>
                    <a:pt x="1" y="2819"/>
                  </a:cubicBezTo>
                  <a:cubicBezTo>
                    <a:pt x="1" y="4370"/>
                    <a:pt x="1236" y="5637"/>
                    <a:pt x="2819" y="5637"/>
                  </a:cubicBezTo>
                  <a:cubicBezTo>
                    <a:pt x="4371" y="5637"/>
                    <a:pt x="5606" y="4370"/>
                    <a:pt x="5606" y="2819"/>
                  </a:cubicBezTo>
                  <a:cubicBezTo>
                    <a:pt x="5606" y="1267"/>
                    <a:pt x="4371" y="0"/>
                    <a:pt x="2819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3" name="Google Shape;2643;p30"/>
            <p:cNvSpPr/>
            <p:nvPr/>
          </p:nvSpPr>
          <p:spPr>
            <a:xfrm>
              <a:off x="4399425" y="3066100"/>
              <a:ext cx="143325" cy="115025"/>
            </a:xfrm>
            <a:custGeom>
              <a:avLst/>
              <a:gdLst/>
              <a:ahLst/>
              <a:cxnLst/>
              <a:rect l="l" t="t" r="r" b="b"/>
              <a:pathLst>
                <a:path w="5733" h="4601" extrusionOk="0">
                  <a:moveTo>
                    <a:pt x="824" y="0"/>
                  </a:moveTo>
                  <a:lnTo>
                    <a:pt x="824" y="0"/>
                  </a:lnTo>
                  <a:cubicBezTo>
                    <a:pt x="191" y="760"/>
                    <a:pt x="1" y="1837"/>
                    <a:pt x="381" y="2819"/>
                  </a:cubicBezTo>
                  <a:cubicBezTo>
                    <a:pt x="816" y="3932"/>
                    <a:pt x="1880" y="4601"/>
                    <a:pt x="3007" y="4601"/>
                  </a:cubicBezTo>
                  <a:cubicBezTo>
                    <a:pt x="3356" y="4601"/>
                    <a:pt x="3710" y="4537"/>
                    <a:pt x="4054" y="4402"/>
                  </a:cubicBezTo>
                  <a:cubicBezTo>
                    <a:pt x="4909" y="4054"/>
                    <a:pt x="5511" y="3325"/>
                    <a:pt x="5733" y="2470"/>
                  </a:cubicBezTo>
                  <a:lnTo>
                    <a:pt x="5733" y="2470"/>
                  </a:lnTo>
                  <a:cubicBezTo>
                    <a:pt x="5416" y="2819"/>
                    <a:pt x="5036" y="3135"/>
                    <a:pt x="4593" y="3294"/>
                  </a:cubicBezTo>
                  <a:cubicBezTo>
                    <a:pt x="4251" y="3438"/>
                    <a:pt x="3896" y="3506"/>
                    <a:pt x="3547" y="3506"/>
                  </a:cubicBezTo>
                  <a:cubicBezTo>
                    <a:pt x="2439" y="3506"/>
                    <a:pt x="1384" y="2825"/>
                    <a:pt x="951" y="1742"/>
                  </a:cubicBezTo>
                  <a:cubicBezTo>
                    <a:pt x="697" y="1172"/>
                    <a:pt x="666" y="570"/>
                    <a:pt x="82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4" name="Google Shape;2644;p30"/>
            <p:cNvSpPr/>
            <p:nvPr/>
          </p:nvSpPr>
          <p:spPr>
            <a:xfrm>
              <a:off x="4442975" y="3263225"/>
              <a:ext cx="58600" cy="58625"/>
            </a:xfrm>
            <a:custGeom>
              <a:avLst/>
              <a:gdLst/>
              <a:ahLst/>
              <a:cxnLst/>
              <a:rect l="l" t="t" r="r" b="b"/>
              <a:pathLst>
                <a:path w="2344" h="2345" extrusionOk="0">
                  <a:moveTo>
                    <a:pt x="1172" y="1"/>
                  </a:moveTo>
                  <a:cubicBezTo>
                    <a:pt x="539" y="1"/>
                    <a:pt x="0" y="539"/>
                    <a:pt x="0" y="1173"/>
                  </a:cubicBezTo>
                  <a:cubicBezTo>
                    <a:pt x="0" y="1806"/>
                    <a:pt x="539" y="2344"/>
                    <a:pt x="1172" y="2344"/>
                  </a:cubicBezTo>
                  <a:cubicBezTo>
                    <a:pt x="1806" y="2344"/>
                    <a:pt x="2344" y="1806"/>
                    <a:pt x="2344" y="1173"/>
                  </a:cubicBezTo>
                  <a:cubicBezTo>
                    <a:pt x="2344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5" name="Google Shape;2645;p30"/>
            <p:cNvSpPr/>
            <p:nvPr/>
          </p:nvSpPr>
          <p:spPr>
            <a:xfrm>
              <a:off x="4442975" y="3393075"/>
              <a:ext cx="58600" cy="57825"/>
            </a:xfrm>
            <a:custGeom>
              <a:avLst/>
              <a:gdLst/>
              <a:ahLst/>
              <a:cxnLst/>
              <a:rect l="l" t="t" r="r" b="b"/>
              <a:pathLst>
                <a:path w="2344" h="2313" extrusionOk="0">
                  <a:moveTo>
                    <a:pt x="1172" y="1"/>
                  </a:moveTo>
                  <a:cubicBezTo>
                    <a:pt x="539" y="1"/>
                    <a:pt x="0" y="507"/>
                    <a:pt x="0" y="1172"/>
                  </a:cubicBezTo>
                  <a:cubicBezTo>
                    <a:pt x="0" y="1806"/>
                    <a:pt x="539" y="2312"/>
                    <a:pt x="1172" y="2312"/>
                  </a:cubicBezTo>
                  <a:cubicBezTo>
                    <a:pt x="1806" y="2312"/>
                    <a:pt x="2344" y="1806"/>
                    <a:pt x="2344" y="1172"/>
                  </a:cubicBezTo>
                  <a:cubicBezTo>
                    <a:pt x="2344" y="507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6" name="Google Shape;2646;p30"/>
            <p:cNvSpPr/>
            <p:nvPr/>
          </p:nvSpPr>
          <p:spPr>
            <a:xfrm>
              <a:off x="4442975" y="3522125"/>
              <a:ext cx="58600" cy="58625"/>
            </a:xfrm>
            <a:custGeom>
              <a:avLst/>
              <a:gdLst/>
              <a:ahLst/>
              <a:cxnLst/>
              <a:rect l="l" t="t" r="r" b="b"/>
              <a:pathLst>
                <a:path w="2344" h="2345" extrusionOk="0">
                  <a:moveTo>
                    <a:pt x="1172" y="1"/>
                  </a:moveTo>
                  <a:cubicBezTo>
                    <a:pt x="539" y="1"/>
                    <a:pt x="0" y="539"/>
                    <a:pt x="0" y="1172"/>
                  </a:cubicBezTo>
                  <a:cubicBezTo>
                    <a:pt x="0" y="1806"/>
                    <a:pt x="539" y="2344"/>
                    <a:pt x="1172" y="2344"/>
                  </a:cubicBezTo>
                  <a:cubicBezTo>
                    <a:pt x="1806" y="2344"/>
                    <a:pt x="2344" y="1806"/>
                    <a:pt x="2344" y="1172"/>
                  </a:cubicBezTo>
                  <a:cubicBezTo>
                    <a:pt x="2344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7" name="Google Shape;2647;p30"/>
            <p:cNvSpPr/>
            <p:nvPr/>
          </p:nvSpPr>
          <p:spPr>
            <a:xfrm>
              <a:off x="4442975" y="3651975"/>
              <a:ext cx="58600" cy="57825"/>
            </a:xfrm>
            <a:custGeom>
              <a:avLst/>
              <a:gdLst/>
              <a:ahLst/>
              <a:cxnLst/>
              <a:rect l="l" t="t" r="r" b="b"/>
              <a:pathLst>
                <a:path w="2344" h="2313" extrusionOk="0">
                  <a:moveTo>
                    <a:pt x="1172" y="0"/>
                  </a:moveTo>
                  <a:cubicBezTo>
                    <a:pt x="539" y="0"/>
                    <a:pt x="0" y="507"/>
                    <a:pt x="0" y="1172"/>
                  </a:cubicBezTo>
                  <a:cubicBezTo>
                    <a:pt x="0" y="1805"/>
                    <a:pt x="539" y="2312"/>
                    <a:pt x="1172" y="2312"/>
                  </a:cubicBezTo>
                  <a:cubicBezTo>
                    <a:pt x="1806" y="2312"/>
                    <a:pt x="2344" y="1805"/>
                    <a:pt x="2344" y="1172"/>
                  </a:cubicBezTo>
                  <a:cubicBezTo>
                    <a:pt x="2344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8" name="Google Shape;2648;p30"/>
            <p:cNvSpPr/>
            <p:nvPr/>
          </p:nvSpPr>
          <p:spPr>
            <a:xfrm>
              <a:off x="5909250" y="3022550"/>
              <a:ext cx="183700" cy="183700"/>
            </a:xfrm>
            <a:custGeom>
              <a:avLst/>
              <a:gdLst/>
              <a:ahLst/>
              <a:cxnLst/>
              <a:rect l="l" t="t" r="r" b="b"/>
              <a:pathLst>
                <a:path w="7348" h="7348" extrusionOk="0">
                  <a:moveTo>
                    <a:pt x="3674" y="0"/>
                  </a:moveTo>
                  <a:cubicBezTo>
                    <a:pt x="1647" y="0"/>
                    <a:pt x="1" y="1647"/>
                    <a:pt x="1" y="3674"/>
                  </a:cubicBezTo>
                  <a:cubicBezTo>
                    <a:pt x="1" y="5701"/>
                    <a:pt x="1647" y="7348"/>
                    <a:pt x="3674" y="7348"/>
                  </a:cubicBezTo>
                  <a:cubicBezTo>
                    <a:pt x="5701" y="7348"/>
                    <a:pt x="7348" y="5701"/>
                    <a:pt x="7348" y="3674"/>
                  </a:cubicBezTo>
                  <a:cubicBezTo>
                    <a:pt x="7348" y="1647"/>
                    <a:pt x="5701" y="0"/>
                    <a:pt x="367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9" name="Google Shape;2649;p30"/>
            <p:cNvSpPr/>
            <p:nvPr/>
          </p:nvSpPr>
          <p:spPr>
            <a:xfrm>
              <a:off x="5928250" y="3040750"/>
              <a:ext cx="146500" cy="146500"/>
            </a:xfrm>
            <a:custGeom>
              <a:avLst/>
              <a:gdLst/>
              <a:ahLst/>
              <a:cxnLst/>
              <a:rect l="l" t="t" r="r" b="b"/>
              <a:pathLst>
                <a:path w="5860" h="5860" extrusionOk="0">
                  <a:moveTo>
                    <a:pt x="2914" y="1"/>
                  </a:moveTo>
                  <a:cubicBezTo>
                    <a:pt x="1299" y="1"/>
                    <a:pt x="1" y="1331"/>
                    <a:pt x="1" y="2946"/>
                  </a:cubicBezTo>
                  <a:cubicBezTo>
                    <a:pt x="1" y="4561"/>
                    <a:pt x="1299" y="5860"/>
                    <a:pt x="2914" y="5860"/>
                  </a:cubicBezTo>
                  <a:cubicBezTo>
                    <a:pt x="4529" y="5860"/>
                    <a:pt x="5859" y="4561"/>
                    <a:pt x="5859" y="2946"/>
                  </a:cubicBezTo>
                  <a:cubicBezTo>
                    <a:pt x="5859" y="1331"/>
                    <a:pt x="4529" y="1"/>
                    <a:pt x="2914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0" name="Google Shape;2650;p30"/>
            <p:cNvSpPr/>
            <p:nvPr/>
          </p:nvSpPr>
          <p:spPr>
            <a:xfrm>
              <a:off x="5923500" y="3067675"/>
              <a:ext cx="148875" cy="120100"/>
            </a:xfrm>
            <a:custGeom>
              <a:avLst/>
              <a:gdLst/>
              <a:ahLst/>
              <a:cxnLst/>
              <a:rect l="l" t="t" r="r" b="b"/>
              <a:pathLst>
                <a:path w="5955" h="4804" extrusionOk="0">
                  <a:moveTo>
                    <a:pt x="856" y="1"/>
                  </a:moveTo>
                  <a:lnTo>
                    <a:pt x="856" y="1"/>
                  </a:lnTo>
                  <a:cubicBezTo>
                    <a:pt x="191" y="824"/>
                    <a:pt x="1" y="1932"/>
                    <a:pt x="412" y="2946"/>
                  </a:cubicBezTo>
                  <a:cubicBezTo>
                    <a:pt x="871" y="4105"/>
                    <a:pt x="1956" y="4803"/>
                    <a:pt x="3119" y="4803"/>
                  </a:cubicBezTo>
                  <a:cubicBezTo>
                    <a:pt x="3481" y="4803"/>
                    <a:pt x="3851" y="4736"/>
                    <a:pt x="4213" y="4593"/>
                  </a:cubicBezTo>
                  <a:cubicBezTo>
                    <a:pt x="5099" y="4213"/>
                    <a:pt x="5733" y="3453"/>
                    <a:pt x="5954" y="2597"/>
                  </a:cubicBezTo>
                  <a:lnTo>
                    <a:pt x="5954" y="2597"/>
                  </a:lnTo>
                  <a:cubicBezTo>
                    <a:pt x="5638" y="2946"/>
                    <a:pt x="5258" y="3262"/>
                    <a:pt x="4783" y="3453"/>
                  </a:cubicBezTo>
                  <a:cubicBezTo>
                    <a:pt x="4421" y="3595"/>
                    <a:pt x="4051" y="3663"/>
                    <a:pt x="3688" y="3663"/>
                  </a:cubicBezTo>
                  <a:cubicBezTo>
                    <a:pt x="2524" y="3663"/>
                    <a:pt x="1434" y="2965"/>
                    <a:pt x="951" y="1806"/>
                  </a:cubicBezTo>
                  <a:cubicBezTo>
                    <a:pt x="729" y="1236"/>
                    <a:pt x="697" y="602"/>
                    <a:pt x="856" y="1"/>
                  </a:cubicBezTo>
                  <a:close/>
                </a:path>
              </a:pathLst>
            </a:custGeom>
            <a:solidFill>
              <a:srgbClr val="1B1F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1" name="Google Shape;2651;p30"/>
            <p:cNvSpPr/>
            <p:nvPr/>
          </p:nvSpPr>
          <p:spPr>
            <a:xfrm>
              <a:off x="5964675" y="2517425"/>
              <a:ext cx="57825" cy="58625"/>
            </a:xfrm>
            <a:custGeom>
              <a:avLst/>
              <a:gdLst/>
              <a:ahLst/>
              <a:cxnLst/>
              <a:rect l="l" t="t" r="r" b="b"/>
              <a:pathLst>
                <a:path w="2313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6" y="2344"/>
                    <a:pt x="2312" y="1806"/>
                    <a:pt x="2312" y="1172"/>
                  </a:cubicBezTo>
                  <a:cubicBezTo>
                    <a:pt x="2312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2" name="Google Shape;2652;p30"/>
            <p:cNvSpPr/>
            <p:nvPr/>
          </p:nvSpPr>
          <p:spPr>
            <a:xfrm>
              <a:off x="5964675" y="2647275"/>
              <a:ext cx="57825" cy="57825"/>
            </a:xfrm>
            <a:custGeom>
              <a:avLst/>
              <a:gdLst/>
              <a:ahLst/>
              <a:cxnLst/>
              <a:rect l="l" t="t" r="r" b="b"/>
              <a:pathLst>
                <a:path w="2313" h="2313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6"/>
                    <a:pt x="507" y="2312"/>
                    <a:pt x="1172" y="2312"/>
                  </a:cubicBezTo>
                  <a:cubicBezTo>
                    <a:pt x="1806" y="2312"/>
                    <a:pt x="2312" y="1806"/>
                    <a:pt x="2312" y="1172"/>
                  </a:cubicBezTo>
                  <a:cubicBezTo>
                    <a:pt x="2312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3" name="Google Shape;2653;p30"/>
            <p:cNvSpPr/>
            <p:nvPr/>
          </p:nvSpPr>
          <p:spPr>
            <a:xfrm>
              <a:off x="5964675" y="2776325"/>
              <a:ext cx="57825" cy="58600"/>
            </a:xfrm>
            <a:custGeom>
              <a:avLst/>
              <a:gdLst/>
              <a:ahLst/>
              <a:cxnLst/>
              <a:rect l="l" t="t" r="r" b="b"/>
              <a:pathLst>
                <a:path w="2313" h="2344" extrusionOk="0">
                  <a:moveTo>
                    <a:pt x="1172" y="0"/>
                  </a:moveTo>
                  <a:cubicBezTo>
                    <a:pt x="507" y="0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6" y="2344"/>
                    <a:pt x="2312" y="1806"/>
                    <a:pt x="2312" y="1172"/>
                  </a:cubicBezTo>
                  <a:cubicBezTo>
                    <a:pt x="2312" y="539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4" name="Google Shape;2654;p30"/>
            <p:cNvSpPr/>
            <p:nvPr/>
          </p:nvSpPr>
          <p:spPr>
            <a:xfrm>
              <a:off x="5964675" y="2906175"/>
              <a:ext cx="57825" cy="57800"/>
            </a:xfrm>
            <a:custGeom>
              <a:avLst/>
              <a:gdLst/>
              <a:ahLst/>
              <a:cxnLst/>
              <a:rect l="l" t="t" r="r" b="b"/>
              <a:pathLst>
                <a:path w="2313" h="2312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5"/>
                    <a:pt x="507" y="2312"/>
                    <a:pt x="1172" y="2312"/>
                  </a:cubicBezTo>
                  <a:cubicBezTo>
                    <a:pt x="1806" y="2312"/>
                    <a:pt x="2312" y="1805"/>
                    <a:pt x="2312" y="1172"/>
                  </a:cubicBezTo>
                  <a:cubicBezTo>
                    <a:pt x="2312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5" name="Google Shape;2655;p30"/>
            <p:cNvSpPr/>
            <p:nvPr/>
          </p:nvSpPr>
          <p:spPr>
            <a:xfrm>
              <a:off x="5762000" y="3725600"/>
              <a:ext cx="479000" cy="424375"/>
            </a:xfrm>
            <a:custGeom>
              <a:avLst/>
              <a:gdLst/>
              <a:ahLst/>
              <a:cxnLst/>
              <a:rect l="l" t="t" r="r" b="b"/>
              <a:pathLst>
                <a:path w="19160" h="16975" extrusionOk="0">
                  <a:moveTo>
                    <a:pt x="6872" y="0"/>
                  </a:moveTo>
                  <a:cubicBezTo>
                    <a:pt x="6271" y="0"/>
                    <a:pt x="5732" y="349"/>
                    <a:pt x="5511" y="887"/>
                  </a:cubicBezTo>
                  <a:cubicBezTo>
                    <a:pt x="5257" y="665"/>
                    <a:pt x="4940" y="539"/>
                    <a:pt x="4592" y="539"/>
                  </a:cubicBezTo>
                  <a:cubicBezTo>
                    <a:pt x="3864" y="539"/>
                    <a:pt x="3294" y="1046"/>
                    <a:pt x="3135" y="1711"/>
                  </a:cubicBezTo>
                  <a:cubicBezTo>
                    <a:pt x="3072" y="1711"/>
                    <a:pt x="2977" y="1679"/>
                    <a:pt x="2914" y="1679"/>
                  </a:cubicBezTo>
                  <a:cubicBezTo>
                    <a:pt x="2090" y="1679"/>
                    <a:pt x="1425" y="2344"/>
                    <a:pt x="1425" y="3167"/>
                  </a:cubicBezTo>
                  <a:cubicBezTo>
                    <a:pt x="1425" y="3231"/>
                    <a:pt x="1425" y="3262"/>
                    <a:pt x="1457" y="3326"/>
                  </a:cubicBezTo>
                  <a:cubicBezTo>
                    <a:pt x="602" y="3706"/>
                    <a:pt x="0" y="4561"/>
                    <a:pt x="0" y="5542"/>
                  </a:cubicBezTo>
                  <a:cubicBezTo>
                    <a:pt x="0" y="6144"/>
                    <a:pt x="222" y="6683"/>
                    <a:pt x="570" y="7126"/>
                  </a:cubicBezTo>
                  <a:cubicBezTo>
                    <a:pt x="570" y="7221"/>
                    <a:pt x="538" y="7316"/>
                    <a:pt x="538" y="7411"/>
                  </a:cubicBezTo>
                  <a:cubicBezTo>
                    <a:pt x="538" y="8741"/>
                    <a:pt x="1615" y="9818"/>
                    <a:pt x="2945" y="9818"/>
                  </a:cubicBezTo>
                  <a:cubicBezTo>
                    <a:pt x="3262" y="9818"/>
                    <a:pt x="3547" y="9754"/>
                    <a:pt x="3800" y="9659"/>
                  </a:cubicBezTo>
                  <a:cubicBezTo>
                    <a:pt x="3895" y="10768"/>
                    <a:pt x="4814" y="11655"/>
                    <a:pt x="5954" y="11655"/>
                  </a:cubicBezTo>
                  <a:lnTo>
                    <a:pt x="6049" y="11655"/>
                  </a:lnTo>
                  <a:cubicBezTo>
                    <a:pt x="6461" y="12225"/>
                    <a:pt x="7094" y="12573"/>
                    <a:pt x="7822" y="12573"/>
                  </a:cubicBezTo>
                  <a:cubicBezTo>
                    <a:pt x="8234" y="12573"/>
                    <a:pt x="8646" y="12478"/>
                    <a:pt x="8962" y="12256"/>
                  </a:cubicBezTo>
                  <a:cubicBezTo>
                    <a:pt x="9089" y="12573"/>
                    <a:pt x="9247" y="12890"/>
                    <a:pt x="9501" y="13111"/>
                  </a:cubicBezTo>
                  <a:cubicBezTo>
                    <a:pt x="9849" y="13428"/>
                    <a:pt x="10293" y="13618"/>
                    <a:pt x="10799" y="13618"/>
                  </a:cubicBezTo>
                  <a:cubicBezTo>
                    <a:pt x="11148" y="14061"/>
                    <a:pt x="11686" y="14315"/>
                    <a:pt x="12319" y="14315"/>
                  </a:cubicBezTo>
                  <a:cubicBezTo>
                    <a:pt x="12604" y="14315"/>
                    <a:pt x="12858" y="14251"/>
                    <a:pt x="13111" y="14156"/>
                  </a:cubicBezTo>
                  <a:cubicBezTo>
                    <a:pt x="13364" y="14695"/>
                    <a:pt x="13618" y="15582"/>
                    <a:pt x="13459" y="16848"/>
                  </a:cubicBezTo>
                  <a:lnTo>
                    <a:pt x="14790" y="16975"/>
                  </a:lnTo>
                  <a:cubicBezTo>
                    <a:pt x="14790" y="16975"/>
                    <a:pt x="14853" y="15202"/>
                    <a:pt x="14631" y="13998"/>
                  </a:cubicBezTo>
                  <a:lnTo>
                    <a:pt x="14631" y="13998"/>
                  </a:lnTo>
                  <a:cubicBezTo>
                    <a:pt x="14790" y="14030"/>
                    <a:pt x="14948" y="14061"/>
                    <a:pt x="15106" y="14061"/>
                  </a:cubicBezTo>
                  <a:cubicBezTo>
                    <a:pt x="16183" y="14061"/>
                    <a:pt x="17070" y="13175"/>
                    <a:pt x="17070" y="12098"/>
                  </a:cubicBezTo>
                  <a:cubicBezTo>
                    <a:pt x="17070" y="11940"/>
                    <a:pt x="17038" y="11813"/>
                    <a:pt x="17006" y="11655"/>
                  </a:cubicBezTo>
                  <a:lnTo>
                    <a:pt x="17196" y="11655"/>
                  </a:lnTo>
                  <a:cubicBezTo>
                    <a:pt x="18273" y="11655"/>
                    <a:pt x="19160" y="10800"/>
                    <a:pt x="19160" y="9723"/>
                  </a:cubicBezTo>
                  <a:cubicBezTo>
                    <a:pt x="19160" y="9343"/>
                    <a:pt x="19065" y="9026"/>
                    <a:pt x="18875" y="8741"/>
                  </a:cubicBezTo>
                  <a:cubicBezTo>
                    <a:pt x="19065" y="8424"/>
                    <a:pt x="19160" y="8108"/>
                    <a:pt x="19160" y="7759"/>
                  </a:cubicBezTo>
                  <a:cubicBezTo>
                    <a:pt x="19160" y="7063"/>
                    <a:pt x="18812" y="6493"/>
                    <a:pt x="18305" y="6144"/>
                  </a:cubicBezTo>
                  <a:cubicBezTo>
                    <a:pt x="18178" y="5384"/>
                    <a:pt x="17608" y="4782"/>
                    <a:pt x="16880" y="4592"/>
                  </a:cubicBezTo>
                  <a:cubicBezTo>
                    <a:pt x="16911" y="4497"/>
                    <a:pt x="16911" y="4402"/>
                    <a:pt x="16911" y="4276"/>
                  </a:cubicBezTo>
                  <a:cubicBezTo>
                    <a:pt x="16911" y="3452"/>
                    <a:pt x="16405" y="2756"/>
                    <a:pt x="15676" y="2471"/>
                  </a:cubicBezTo>
                  <a:cubicBezTo>
                    <a:pt x="15486" y="2407"/>
                    <a:pt x="15328" y="2376"/>
                    <a:pt x="15138" y="2344"/>
                  </a:cubicBezTo>
                  <a:cubicBezTo>
                    <a:pt x="14853" y="1109"/>
                    <a:pt x="13744" y="190"/>
                    <a:pt x="12414" y="190"/>
                  </a:cubicBezTo>
                  <a:cubicBezTo>
                    <a:pt x="11686" y="190"/>
                    <a:pt x="11021" y="475"/>
                    <a:pt x="10546" y="919"/>
                  </a:cubicBezTo>
                  <a:cubicBezTo>
                    <a:pt x="10293" y="412"/>
                    <a:pt x="9786" y="64"/>
                    <a:pt x="9184" y="64"/>
                  </a:cubicBezTo>
                  <a:cubicBezTo>
                    <a:pt x="8741" y="64"/>
                    <a:pt x="8329" y="285"/>
                    <a:pt x="8044" y="634"/>
                  </a:cubicBezTo>
                  <a:cubicBezTo>
                    <a:pt x="7791" y="254"/>
                    <a:pt x="7347" y="0"/>
                    <a:pt x="6872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6" name="Google Shape;2656;p30"/>
            <p:cNvSpPr/>
            <p:nvPr/>
          </p:nvSpPr>
          <p:spPr>
            <a:xfrm>
              <a:off x="5917175" y="3792100"/>
              <a:ext cx="92650" cy="91875"/>
            </a:xfrm>
            <a:custGeom>
              <a:avLst/>
              <a:gdLst/>
              <a:ahLst/>
              <a:cxnLst/>
              <a:rect l="l" t="t" r="r" b="b"/>
              <a:pathLst>
                <a:path w="3706" h="3675" extrusionOk="0">
                  <a:moveTo>
                    <a:pt x="1837" y="1046"/>
                  </a:moveTo>
                  <a:cubicBezTo>
                    <a:pt x="2280" y="1046"/>
                    <a:pt x="2660" y="1394"/>
                    <a:pt x="2660" y="1837"/>
                  </a:cubicBezTo>
                  <a:cubicBezTo>
                    <a:pt x="2660" y="2281"/>
                    <a:pt x="2280" y="2661"/>
                    <a:pt x="1837" y="2661"/>
                  </a:cubicBezTo>
                  <a:cubicBezTo>
                    <a:pt x="1394" y="2661"/>
                    <a:pt x="1045" y="2281"/>
                    <a:pt x="1045" y="1837"/>
                  </a:cubicBezTo>
                  <a:cubicBezTo>
                    <a:pt x="1045" y="1394"/>
                    <a:pt x="1394" y="1046"/>
                    <a:pt x="1837" y="1046"/>
                  </a:cubicBezTo>
                  <a:close/>
                  <a:moveTo>
                    <a:pt x="1837" y="1"/>
                  </a:moveTo>
                  <a:cubicBezTo>
                    <a:pt x="824" y="1"/>
                    <a:pt x="0" y="824"/>
                    <a:pt x="0" y="1837"/>
                  </a:cubicBezTo>
                  <a:cubicBezTo>
                    <a:pt x="0" y="2851"/>
                    <a:pt x="824" y="3674"/>
                    <a:pt x="1837" y="3674"/>
                  </a:cubicBezTo>
                  <a:cubicBezTo>
                    <a:pt x="2882" y="3674"/>
                    <a:pt x="3706" y="2851"/>
                    <a:pt x="3706" y="1837"/>
                  </a:cubicBezTo>
                  <a:cubicBezTo>
                    <a:pt x="3706" y="824"/>
                    <a:pt x="2850" y="1"/>
                    <a:pt x="1837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7" name="Google Shape;2657;p30"/>
            <p:cNvSpPr/>
            <p:nvPr/>
          </p:nvSpPr>
          <p:spPr>
            <a:xfrm>
              <a:off x="5955975" y="3779425"/>
              <a:ext cx="14275" cy="27750"/>
            </a:xfrm>
            <a:custGeom>
              <a:avLst/>
              <a:gdLst/>
              <a:ahLst/>
              <a:cxnLst/>
              <a:rect l="l" t="t" r="r" b="b"/>
              <a:pathLst>
                <a:path w="571" h="1110" extrusionOk="0">
                  <a:moveTo>
                    <a:pt x="0" y="1"/>
                  </a:moveTo>
                  <a:lnTo>
                    <a:pt x="0" y="1109"/>
                  </a:lnTo>
                  <a:lnTo>
                    <a:pt x="570" y="1109"/>
                  </a:lnTo>
                  <a:lnTo>
                    <a:pt x="57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8" name="Google Shape;2658;p30"/>
            <p:cNvSpPr/>
            <p:nvPr/>
          </p:nvSpPr>
          <p:spPr>
            <a:xfrm>
              <a:off x="5927450" y="3783400"/>
              <a:ext cx="26150" cy="31700"/>
            </a:xfrm>
            <a:custGeom>
              <a:avLst/>
              <a:gdLst/>
              <a:ahLst/>
              <a:cxnLst/>
              <a:rect l="l" t="t" r="r" b="b"/>
              <a:pathLst>
                <a:path w="1046" h="1268" extrusionOk="0">
                  <a:moveTo>
                    <a:pt x="508" y="0"/>
                  </a:moveTo>
                  <a:lnTo>
                    <a:pt x="1" y="317"/>
                  </a:lnTo>
                  <a:lnTo>
                    <a:pt x="539" y="1267"/>
                  </a:lnTo>
                  <a:lnTo>
                    <a:pt x="1046" y="950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9" name="Google Shape;2659;p30"/>
            <p:cNvSpPr/>
            <p:nvPr/>
          </p:nvSpPr>
          <p:spPr>
            <a:xfrm>
              <a:off x="5908450" y="3802400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318" y="0"/>
                  </a:moveTo>
                  <a:lnTo>
                    <a:pt x="1" y="539"/>
                  </a:lnTo>
                  <a:lnTo>
                    <a:pt x="951" y="1077"/>
                  </a:lnTo>
                  <a:lnTo>
                    <a:pt x="1268" y="570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0" name="Google Shape;2660;p30"/>
            <p:cNvSpPr/>
            <p:nvPr/>
          </p:nvSpPr>
          <p:spPr>
            <a:xfrm>
              <a:off x="5904500" y="3830900"/>
              <a:ext cx="27725" cy="15075"/>
            </a:xfrm>
            <a:custGeom>
              <a:avLst/>
              <a:gdLst/>
              <a:ahLst/>
              <a:cxnLst/>
              <a:rect l="l" t="t" r="r" b="b"/>
              <a:pathLst>
                <a:path w="1109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109" y="602"/>
                  </a:lnTo>
                  <a:lnTo>
                    <a:pt x="110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1" name="Google Shape;2661;p30"/>
            <p:cNvSpPr/>
            <p:nvPr/>
          </p:nvSpPr>
          <p:spPr>
            <a:xfrm>
              <a:off x="5908450" y="3847525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951" y="0"/>
                  </a:moveTo>
                  <a:lnTo>
                    <a:pt x="1" y="539"/>
                  </a:lnTo>
                  <a:lnTo>
                    <a:pt x="318" y="1077"/>
                  </a:lnTo>
                  <a:lnTo>
                    <a:pt x="1268" y="507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2" name="Google Shape;2662;p30"/>
            <p:cNvSpPr/>
            <p:nvPr/>
          </p:nvSpPr>
          <p:spPr>
            <a:xfrm>
              <a:off x="5927450" y="3860975"/>
              <a:ext cx="26950" cy="31700"/>
            </a:xfrm>
            <a:custGeom>
              <a:avLst/>
              <a:gdLst/>
              <a:ahLst/>
              <a:cxnLst/>
              <a:rect l="l" t="t" r="r" b="b"/>
              <a:pathLst>
                <a:path w="1078" h="1268" extrusionOk="0">
                  <a:moveTo>
                    <a:pt x="571" y="1"/>
                  </a:moveTo>
                  <a:lnTo>
                    <a:pt x="1" y="983"/>
                  </a:lnTo>
                  <a:lnTo>
                    <a:pt x="539" y="1268"/>
                  </a:lnTo>
                  <a:lnTo>
                    <a:pt x="1078" y="318"/>
                  </a:lnTo>
                  <a:lnTo>
                    <a:pt x="57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3" name="Google Shape;2663;p30"/>
            <p:cNvSpPr/>
            <p:nvPr/>
          </p:nvSpPr>
          <p:spPr>
            <a:xfrm>
              <a:off x="5955975" y="3868900"/>
              <a:ext cx="15050" cy="27725"/>
            </a:xfrm>
            <a:custGeom>
              <a:avLst/>
              <a:gdLst/>
              <a:ahLst/>
              <a:cxnLst/>
              <a:rect l="l" t="t" r="r" b="b"/>
              <a:pathLst>
                <a:path w="602" h="1109" extrusionOk="0">
                  <a:moveTo>
                    <a:pt x="0" y="1"/>
                  </a:moveTo>
                  <a:lnTo>
                    <a:pt x="0" y="1109"/>
                  </a:lnTo>
                  <a:lnTo>
                    <a:pt x="602" y="1109"/>
                  </a:lnTo>
                  <a:lnTo>
                    <a:pt x="602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4" name="Google Shape;2664;p30"/>
            <p:cNvSpPr/>
            <p:nvPr/>
          </p:nvSpPr>
          <p:spPr>
            <a:xfrm>
              <a:off x="5972600" y="3861775"/>
              <a:ext cx="26925" cy="30900"/>
            </a:xfrm>
            <a:custGeom>
              <a:avLst/>
              <a:gdLst/>
              <a:ahLst/>
              <a:cxnLst/>
              <a:rect l="l" t="t" r="r" b="b"/>
              <a:pathLst>
                <a:path w="1077" h="1236" extrusionOk="0">
                  <a:moveTo>
                    <a:pt x="507" y="0"/>
                  </a:moveTo>
                  <a:lnTo>
                    <a:pt x="0" y="286"/>
                  </a:lnTo>
                  <a:lnTo>
                    <a:pt x="570" y="1236"/>
                  </a:lnTo>
                  <a:lnTo>
                    <a:pt x="1077" y="951"/>
                  </a:lnTo>
                  <a:lnTo>
                    <a:pt x="50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5" name="Google Shape;2665;p30"/>
            <p:cNvSpPr/>
            <p:nvPr/>
          </p:nvSpPr>
          <p:spPr>
            <a:xfrm>
              <a:off x="5986050" y="3846725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317" y="1"/>
                  </a:moveTo>
                  <a:lnTo>
                    <a:pt x="0" y="507"/>
                  </a:lnTo>
                  <a:lnTo>
                    <a:pt x="982" y="1078"/>
                  </a:lnTo>
                  <a:lnTo>
                    <a:pt x="1267" y="571"/>
                  </a:lnTo>
                  <a:lnTo>
                    <a:pt x="317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6" name="Google Shape;2666;p30"/>
            <p:cNvSpPr/>
            <p:nvPr/>
          </p:nvSpPr>
          <p:spPr>
            <a:xfrm>
              <a:off x="5993975" y="3830900"/>
              <a:ext cx="27725" cy="14275"/>
            </a:xfrm>
            <a:custGeom>
              <a:avLst/>
              <a:gdLst/>
              <a:ahLst/>
              <a:cxnLst/>
              <a:rect l="l" t="t" r="r" b="b"/>
              <a:pathLst>
                <a:path w="1109" h="571" extrusionOk="0">
                  <a:moveTo>
                    <a:pt x="0" y="0"/>
                  </a:moveTo>
                  <a:lnTo>
                    <a:pt x="0" y="570"/>
                  </a:lnTo>
                  <a:lnTo>
                    <a:pt x="1109" y="570"/>
                  </a:lnTo>
                  <a:lnTo>
                    <a:pt x="110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7" name="Google Shape;2667;p30"/>
            <p:cNvSpPr/>
            <p:nvPr/>
          </p:nvSpPr>
          <p:spPr>
            <a:xfrm>
              <a:off x="5986050" y="3801600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982" y="1"/>
                  </a:moveTo>
                  <a:lnTo>
                    <a:pt x="0" y="571"/>
                  </a:lnTo>
                  <a:lnTo>
                    <a:pt x="317" y="1077"/>
                  </a:lnTo>
                  <a:lnTo>
                    <a:pt x="1267" y="539"/>
                  </a:lnTo>
                  <a:lnTo>
                    <a:pt x="982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8" name="Google Shape;2668;p30"/>
            <p:cNvSpPr/>
            <p:nvPr/>
          </p:nvSpPr>
          <p:spPr>
            <a:xfrm>
              <a:off x="5971800" y="3783400"/>
              <a:ext cx="26950" cy="31700"/>
            </a:xfrm>
            <a:custGeom>
              <a:avLst/>
              <a:gdLst/>
              <a:ahLst/>
              <a:cxnLst/>
              <a:rect l="l" t="t" r="r" b="b"/>
              <a:pathLst>
                <a:path w="1078" h="1268" extrusionOk="0">
                  <a:moveTo>
                    <a:pt x="570" y="0"/>
                  </a:moveTo>
                  <a:lnTo>
                    <a:pt x="0" y="950"/>
                  </a:lnTo>
                  <a:lnTo>
                    <a:pt x="539" y="1267"/>
                  </a:lnTo>
                  <a:lnTo>
                    <a:pt x="1077" y="317"/>
                  </a:lnTo>
                  <a:lnTo>
                    <a:pt x="570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9" name="Google Shape;2669;p30"/>
            <p:cNvSpPr/>
            <p:nvPr/>
          </p:nvSpPr>
          <p:spPr>
            <a:xfrm>
              <a:off x="6069975" y="3868900"/>
              <a:ext cx="62575" cy="62575"/>
            </a:xfrm>
            <a:custGeom>
              <a:avLst/>
              <a:gdLst/>
              <a:ahLst/>
              <a:cxnLst/>
              <a:rect l="l" t="t" r="r" b="b"/>
              <a:pathLst>
                <a:path w="2503" h="2503" extrusionOk="0">
                  <a:moveTo>
                    <a:pt x="1267" y="697"/>
                  </a:moveTo>
                  <a:cubicBezTo>
                    <a:pt x="1552" y="697"/>
                    <a:pt x="1805" y="951"/>
                    <a:pt x="1805" y="1236"/>
                  </a:cubicBezTo>
                  <a:cubicBezTo>
                    <a:pt x="1805" y="1552"/>
                    <a:pt x="1552" y="1806"/>
                    <a:pt x="1267" y="1806"/>
                  </a:cubicBezTo>
                  <a:cubicBezTo>
                    <a:pt x="950" y="1806"/>
                    <a:pt x="697" y="1552"/>
                    <a:pt x="697" y="1236"/>
                  </a:cubicBezTo>
                  <a:cubicBezTo>
                    <a:pt x="697" y="951"/>
                    <a:pt x="950" y="697"/>
                    <a:pt x="1267" y="697"/>
                  </a:cubicBezTo>
                  <a:close/>
                  <a:moveTo>
                    <a:pt x="1267" y="1"/>
                  </a:moveTo>
                  <a:cubicBezTo>
                    <a:pt x="570" y="1"/>
                    <a:pt x="0" y="571"/>
                    <a:pt x="0" y="1236"/>
                  </a:cubicBezTo>
                  <a:cubicBezTo>
                    <a:pt x="0" y="1932"/>
                    <a:pt x="570" y="2502"/>
                    <a:pt x="1267" y="2502"/>
                  </a:cubicBezTo>
                  <a:cubicBezTo>
                    <a:pt x="1964" y="2502"/>
                    <a:pt x="2502" y="1932"/>
                    <a:pt x="2502" y="1236"/>
                  </a:cubicBezTo>
                  <a:cubicBezTo>
                    <a:pt x="2502" y="571"/>
                    <a:pt x="1964" y="1"/>
                    <a:pt x="1267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0" name="Google Shape;2670;p30"/>
            <p:cNvSpPr/>
            <p:nvPr/>
          </p:nvSpPr>
          <p:spPr>
            <a:xfrm>
              <a:off x="6096100" y="3860200"/>
              <a:ext cx="10325" cy="19025"/>
            </a:xfrm>
            <a:custGeom>
              <a:avLst/>
              <a:gdLst/>
              <a:ahLst/>
              <a:cxnLst/>
              <a:rect l="l" t="t" r="r" b="b"/>
              <a:pathLst>
                <a:path w="413" h="761" extrusionOk="0">
                  <a:moveTo>
                    <a:pt x="0" y="0"/>
                  </a:moveTo>
                  <a:lnTo>
                    <a:pt x="0" y="760"/>
                  </a:lnTo>
                  <a:lnTo>
                    <a:pt x="412" y="76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1" name="Google Shape;2671;p30"/>
            <p:cNvSpPr/>
            <p:nvPr/>
          </p:nvSpPr>
          <p:spPr>
            <a:xfrm>
              <a:off x="6077100" y="3863350"/>
              <a:ext cx="18225" cy="20625"/>
            </a:xfrm>
            <a:custGeom>
              <a:avLst/>
              <a:gdLst/>
              <a:ahLst/>
              <a:cxnLst/>
              <a:rect l="l" t="t" r="r" b="b"/>
              <a:pathLst>
                <a:path w="729" h="825" extrusionOk="0">
                  <a:moveTo>
                    <a:pt x="349" y="1"/>
                  </a:moveTo>
                  <a:lnTo>
                    <a:pt x="0" y="191"/>
                  </a:lnTo>
                  <a:lnTo>
                    <a:pt x="380" y="824"/>
                  </a:lnTo>
                  <a:lnTo>
                    <a:pt x="729" y="634"/>
                  </a:lnTo>
                  <a:lnTo>
                    <a:pt x="34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2" name="Google Shape;2672;p30"/>
            <p:cNvSpPr/>
            <p:nvPr/>
          </p:nvSpPr>
          <p:spPr>
            <a:xfrm>
              <a:off x="6064425" y="3876025"/>
              <a:ext cx="21400" cy="18225"/>
            </a:xfrm>
            <a:custGeom>
              <a:avLst/>
              <a:gdLst/>
              <a:ahLst/>
              <a:cxnLst/>
              <a:rect l="l" t="t" r="r" b="b"/>
              <a:pathLst>
                <a:path w="856" h="729" extrusionOk="0">
                  <a:moveTo>
                    <a:pt x="191" y="1"/>
                  </a:moveTo>
                  <a:lnTo>
                    <a:pt x="1" y="349"/>
                  </a:lnTo>
                  <a:lnTo>
                    <a:pt x="634" y="729"/>
                  </a:lnTo>
                  <a:lnTo>
                    <a:pt x="856" y="381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3" name="Google Shape;2673;p30"/>
            <p:cNvSpPr/>
            <p:nvPr/>
          </p:nvSpPr>
          <p:spPr>
            <a:xfrm>
              <a:off x="6061275" y="3895025"/>
              <a:ext cx="19025" cy="10325"/>
            </a:xfrm>
            <a:custGeom>
              <a:avLst/>
              <a:gdLst/>
              <a:ahLst/>
              <a:cxnLst/>
              <a:rect l="l" t="t" r="r" b="b"/>
              <a:pathLst>
                <a:path w="761" h="413" extrusionOk="0">
                  <a:moveTo>
                    <a:pt x="0" y="1"/>
                  </a:moveTo>
                  <a:lnTo>
                    <a:pt x="0" y="412"/>
                  </a:lnTo>
                  <a:lnTo>
                    <a:pt x="760" y="412"/>
                  </a:lnTo>
                  <a:lnTo>
                    <a:pt x="76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4" name="Google Shape;2674;p30"/>
            <p:cNvSpPr/>
            <p:nvPr/>
          </p:nvSpPr>
          <p:spPr>
            <a:xfrm>
              <a:off x="6064425" y="3906100"/>
              <a:ext cx="21400" cy="18250"/>
            </a:xfrm>
            <a:custGeom>
              <a:avLst/>
              <a:gdLst/>
              <a:ahLst/>
              <a:cxnLst/>
              <a:rect l="l" t="t" r="r" b="b"/>
              <a:pathLst>
                <a:path w="856" h="730" extrusionOk="0">
                  <a:moveTo>
                    <a:pt x="666" y="1"/>
                  </a:moveTo>
                  <a:lnTo>
                    <a:pt x="1" y="381"/>
                  </a:lnTo>
                  <a:lnTo>
                    <a:pt x="222" y="729"/>
                  </a:lnTo>
                  <a:lnTo>
                    <a:pt x="856" y="381"/>
                  </a:lnTo>
                  <a:lnTo>
                    <a:pt x="666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5" name="Google Shape;2675;p30"/>
            <p:cNvSpPr/>
            <p:nvPr/>
          </p:nvSpPr>
          <p:spPr>
            <a:xfrm>
              <a:off x="6077100" y="3915600"/>
              <a:ext cx="18225" cy="21425"/>
            </a:xfrm>
            <a:custGeom>
              <a:avLst/>
              <a:gdLst/>
              <a:ahLst/>
              <a:cxnLst/>
              <a:rect l="l" t="t" r="r" b="b"/>
              <a:pathLst>
                <a:path w="729" h="857" extrusionOk="0">
                  <a:moveTo>
                    <a:pt x="380" y="1"/>
                  </a:moveTo>
                  <a:lnTo>
                    <a:pt x="0" y="666"/>
                  </a:lnTo>
                  <a:lnTo>
                    <a:pt x="349" y="856"/>
                  </a:lnTo>
                  <a:lnTo>
                    <a:pt x="729" y="223"/>
                  </a:lnTo>
                  <a:lnTo>
                    <a:pt x="38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6" name="Google Shape;2676;p30"/>
            <p:cNvSpPr/>
            <p:nvPr/>
          </p:nvSpPr>
          <p:spPr>
            <a:xfrm>
              <a:off x="6096900" y="3921150"/>
              <a:ext cx="9525" cy="19025"/>
            </a:xfrm>
            <a:custGeom>
              <a:avLst/>
              <a:gdLst/>
              <a:ahLst/>
              <a:cxnLst/>
              <a:rect l="l" t="t" r="r" b="b"/>
              <a:pathLst>
                <a:path w="381" h="761" extrusionOk="0">
                  <a:moveTo>
                    <a:pt x="0" y="1"/>
                  </a:moveTo>
                  <a:lnTo>
                    <a:pt x="0" y="761"/>
                  </a:lnTo>
                  <a:lnTo>
                    <a:pt x="380" y="761"/>
                  </a:lnTo>
                  <a:lnTo>
                    <a:pt x="38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7" name="Google Shape;2677;p30"/>
            <p:cNvSpPr/>
            <p:nvPr/>
          </p:nvSpPr>
          <p:spPr>
            <a:xfrm>
              <a:off x="6107175" y="3915600"/>
              <a:ext cx="18250" cy="21425"/>
            </a:xfrm>
            <a:custGeom>
              <a:avLst/>
              <a:gdLst/>
              <a:ahLst/>
              <a:cxnLst/>
              <a:rect l="l" t="t" r="r" b="b"/>
              <a:pathLst>
                <a:path w="730" h="857" extrusionOk="0">
                  <a:moveTo>
                    <a:pt x="349" y="1"/>
                  </a:moveTo>
                  <a:lnTo>
                    <a:pt x="1" y="223"/>
                  </a:lnTo>
                  <a:lnTo>
                    <a:pt x="381" y="856"/>
                  </a:lnTo>
                  <a:lnTo>
                    <a:pt x="729" y="666"/>
                  </a:lnTo>
                  <a:lnTo>
                    <a:pt x="34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8" name="Google Shape;2678;p30"/>
            <p:cNvSpPr/>
            <p:nvPr/>
          </p:nvSpPr>
          <p:spPr>
            <a:xfrm>
              <a:off x="6117475" y="3906100"/>
              <a:ext cx="21400" cy="18250"/>
            </a:xfrm>
            <a:custGeom>
              <a:avLst/>
              <a:gdLst/>
              <a:ahLst/>
              <a:cxnLst/>
              <a:rect l="l" t="t" r="r" b="b"/>
              <a:pathLst>
                <a:path w="856" h="730" extrusionOk="0">
                  <a:moveTo>
                    <a:pt x="191" y="1"/>
                  </a:moveTo>
                  <a:lnTo>
                    <a:pt x="1" y="349"/>
                  </a:lnTo>
                  <a:lnTo>
                    <a:pt x="634" y="729"/>
                  </a:lnTo>
                  <a:lnTo>
                    <a:pt x="856" y="381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9" name="Google Shape;2679;p30"/>
            <p:cNvSpPr/>
            <p:nvPr/>
          </p:nvSpPr>
          <p:spPr>
            <a:xfrm>
              <a:off x="6122225" y="3895025"/>
              <a:ext cx="19025" cy="10325"/>
            </a:xfrm>
            <a:custGeom>
              <a:avLst/>
              <a:gdLst/>
              <a:ahLst/>
              <a:cxnLst/>
              <a:rect l="l" t="t" r="r" b="b"/>
              <a:pathLst>
                <a:path w="761" h="413" extrusionOk="0">
                  <a:moveTo>
                    <a:pt x="1" y="1"/>
                  </a:moveTo>
                  <a:lnTo>
                    <a:pt x="1" y="412"/>
                  </a:lnTo>
                  <a:lnTo>
                    <a:pt x="761" y="412"/>
                  </a:lnTo>
                  <a:lnTo>
                    <a:pt x="76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0" name="Google Shape;2680;p30"/>
            <p:cNvSpPr/>
            <p:nvPr/>
          </p:nvSpPr>
          <p:spPr>
            <a:xfrm>
              <a:off x="6116675" y="3876025"/>
              <a:ext cx="21400" cy="17450"/>
            </a:xfrm>
            <a:custGeom>
              <a:avLst/>
              <a:gdLst/>
              <a:ahLst/>
              <a:cxnLst/>
              <a:rect l="l" t="t" r="r" b="b"/>
              <a:pathLst>
                <a:path w="856" h="698" extrusionOk="0">
                  <a:moveTo>
                    <a:pt x="666" y="1"/>
                  </a:moveTo>
                  <a:lnTo>
                    <a:pt x="1" y="349"/>
                  </a:lnTo>
                  <a:lnTo>
                    <a:pt x="223" y="697"/>
                  </a:lnTo>
                  <a:lnTo>
                    <a:pt x="856" y="349"/>
                  </a:lnTo>
                  <a:lnTo>
                    <a:pt x="666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1" name="Google Shape;2681;p30"/>
            <p:cNvSpPr/>
            <p:nvPr/>
          </p:nvSpPr>
          <p:spPr>
            <a:xfrm>
              <a:off x="6107175" y="3862575"/>
              <a:ext cx="18250" cy="21400"/>
            </a:xfrm>
            <a:custGeom>
              <a:avLst/>
              <a:gdLst/>
              <a:ahLst/>
              <a:cxnLst/>
              <a:rect l="l" t="t" r="r" b="b"/>
              <a:pathLst>
                <a:path w="730" h="856" extrusionOk="0">
                  <a:moveTo>
                    <a:pt x="381" y="0"/>
                  </a:moveTo>
                  <a:lnTo>
                    <a:pt x="1" y="665"/>
                  </a:lnTo>
                  <a:lnTo>
                    <a:pt x="349" y="855"/>
                  </a:lnTo>
                  <a:lnTo>
                    <a:pt x="729" y="222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2" name="Google Shape;2682;p30"/>
            <p:cNvSpPr/>
            <p:nvPr/>
          </p:nvSpPr>
          <p:spPr>
            <a:xfrm>
              <a:off x="5973375" y="3924325"/>
              <a:ext cx="50700" cy="51475"/>
            </a:xfrm>
            <a:custGeom>
              <a:avLst/>
              <a:gdLst/>
              <a:ahLst/>
              <a:cxnLst/>
              <a:rect l="l" t="t" r="r" b="b"/>
              <a:pathLst>
                <a:path w="2028" h="2059" extrusionOk="0">
                  <a:moveTo>
                    <a:pt x="1014" y="570"/>
                  </a:moveTo>
                  <a:cubicBezTo>
                    <a:pt x="1267" y="570"/>
                    <a:pt x="1458" y="792"/>
                    <a:pt x="1458" y="1014"/>
                  </a:cubicBezTo>
                  <a:cubicBezTo>
                    <a:pt x="1458" y="1267"/>
                    <a:pt x="1267" y="1489"/>
                    <a:pt x="1014" y="1489"/>
                  </a:cubicBezTo>
                  <a:cubicBezTo>
                    <a:pt x="761" y="1489"/>
                    <a:pt x="571" y="1267"/>
                    <a:pt x="571" y="1014"/>
                  </a:cubicBezTo>
                  <a:cubicBezTo>
                    <a:pt x="571" y="792"/>
                    <a:pt x="761" y="570"/>
                    <a:pt x="1014" y="570"/>
                  </a:cubicBezTo>
                  <a:close/>
                  <a:moveTo>
                    <a:pt x="1014" y="0"/>
                  </a:moveTo>
                  <a:cubicBezTo>
                    <a:pt x="444" y="0"/>
                    <a:pt x="1" y="475"/>
                    <a:pt x="1" y="1014"/>
                  </a:cubicBezTo>
                  <a:cubicBezTo>
                    <a:pt x="1" y="1584"/>
                    <a:pt x="444" y="2059"/>
                    <a:pt x="1014" y="2059"/>
                  </a:cubicBezTo>
                  <a:cubicBezTo>
                    <a:pt x="1584" y="2059"/>
                    <a:pt x="2028" y="1584"/>
                    <a:pt x="2028" y="1014"/>
                  </a:cubicBezTo>
                  <a:cubicBezTo>
                    <a:pt x="2028" y="475"/>
                    <a:pt x="1584" y="0"/>
                    <a:pt x="1014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3" name="Google Shape;2683;p30"/>
            <p:cNvSpPr/>
            <p:nvPr/>
          </p:nvSpPr>
          <p:spPr>
            <a:xfrm>
              <a:off x="5994750" y="3917975"/>
              <a:ext cx="7950" cy="15075"/>
            </a:xfrm>
            <a:custGeom>
              <a:avLst/>
              <a:gdLst/>
              <a:ahLst/>
              <a:cxnLst/>
              <a:rect l="l" t="t" r="r" b="b"/>
              <a:pathLst>
                <a:path w="318" h="603" extrusionOk="0">
                  <a:moveTo>
                    <a:pt x="1" y="1"/>
                  </a:moveTo>
                  <a:lnTo>
                    <a:pt x="1" y="603"/>
                  </a:lnTo>
                  <a:lnTo>
                    <a:pt x="317" y="603"/>
                  </a:lnTo>
                  <a:lnTo>
                    <a:pt x="317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4" name="Google Shape;2684;p30"/>
            <p:cNvSpPr/>
            <p:nvPr/>
          </p:nvSpPr>
          <p:spPr>
            <a:xfrm>
              <a:off x="5978925" y="3920350"/>
              <a:ext cx="15075" cy="17450"/>
            </a:xfrm>
            <a:custGeom>
              <a:avLst/>
              <a:gdLst/>
              <a:ahLst/>
              <a:cxnLst/>
              <a:rect l="l" t="t" r="r" b="b"/>
              <a:pathLst>
                <a:path w="603" h="698" extrusionOk="0">
                  <a:moveTo>
                    <a:pt x="285" y="1"/>
                  </a:moveTo>
                  <a:lnTo>
                    <a:pt x="0" y="159"/>
                  </a:lnTo>
                  <a:lnTo>
                    <a:pt x="317" y="698"/>
                  </a:lnTo>
                  <a:lnTo>
                    <a:pt x="602" y="508"/>
                  </a:lnTo>
                  <a:lnTo>
                    <a:pt x="285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5" name="Google Shape;2685;p30"/>
            <p:cNvSpPr/>
            <p:nvPr/>
          </p:nvSpPr>
          <p:spPr>
            <a:xfrm>
              <a:off x="5968625" y="3929875"/>
              <a:ext cx="17450" cy="15050"/>
            </a:xfrm>
            <a:custGeom>
              <a:avLst/>
              <a:gdLst/>
              <a:ahLst/>
              <a:cxnLst/>
              <a:rect l="l" t="t" r="r" b="b"/>
              <a:pathLst>
                <a:path w="698" h="602" extrusionOk="0">
                  <a:moveTo>
                    <a:pt x="159" y="0"/>
                  </a:moveTo>
                  <a:lnTo>
                    <a:pt x="1" y="285"/>
                  </a:lnTo>
                  <a:lnTo>
                    <a:pt x="539" y="602"/>
                  </a:lnTo>
                  <a:lnTo>
                    <a:pt x="697" y="317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6" name="Google Shape;2686;p30"/>
            <p:cNvSpPr/>
            <p:nvPr/>
          </p:nvSpPr>
          <p:spPr>
            <a:xfrm>
              <a:off x="5966250" y="3945700"/>
              <a:ext cx="15875" cy="8725"/>
            </a:xfrm>
            <a:custGeom>
              <a:avLst/>
              <a:gdLst/>
              <a:ahLst/>
              <a:cxnLst/>
              <a:rect l="l" t="t" r="r" b="b"/>
              <a:pathLst>
                <a:path w="635" h="349" extrusionOk="0">
                  <a:moveTo>
                    <a:pt x="1" y="0"/>
                  </a:moveTo>
                  <a:lnTo>
                    <a:pt x="1" y="349"/>
                  </a:lnTo>
                  <a:lnTo>
                    <a:pt x="634" y="349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7" name="Google Shape;2687;p30"/>
            <p:cNvSpPr/>
            <p:nvPr/>
          </p:nvSpPr>
          <p:spPr>
            <a:xfrm>
              <a:off x="5968625" y="3955200"/>
              <a:ext cx="17450" cy="15075"/>
            </a:xfrm>
            <a:custGeom>
              <a:avLst/>
              <a:gdLst/>
              <a:ahLst/>
              <a:cxnLst/>
              <a:rect l="l" t="t" r="r" b="b"/>
              <a:pathLst>
                <a:path w="698" h="603" extrusionOk="0">
                  <a:moveTo>
                    <a:pt x="539" y="0"/>
                  </a:moveTo>
                  <a:lnTo>
                    <a:pt x="1" y="317"/>
                  </a:lnTo>
                  <a:lnTo>
                    <a:pt x="159" y="602"/>
                  </a:lnTo>
                  <a:lnTo>
                    <a:pt x="697" y="285"/>
                  </a:lnTo>
                  <a:lnTo>
                    <a:pt x="53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8" name="Google Shape;2688;p30"/>
            <p:cNvSpPr/>
            <p:nvPr/>
          </p:nvSpPr>
          <p:spPr>
            <a:xfrm>
              <a:off x="5978925" y="3963125"/>
              <a:ext cx="15075" cy="17425"/>
            </a:xfrm>
            <a:custGeom>
              <a:avLst/>
              <a:gdLst/>
              <a:ahLst/>
              <a:cxnLst/>
              <a:rect l="l" t="t" r="r" b="b"/>
              <a:pathLst>
                <a:path w="603" h="697" extrusionOk="0">
                  <a:moveTo>
                    <a:pt x="317" y="0"/>
                  </a:moveTo>
                  <a:lnTo>
                    <a:pt x="0" y="507"/>
                  </a:lnTo>
                  <a:lnTo>
                    <a:pt x="285" y="697"/>
                  </a:lnTo>
                  <a:lnTo>
                    <a:pt x="602" y="158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9" name="Google Shape;2689;p30"/>
            <p:cNvSpPr/>
            <p:nvPr/>
          </p:nvSpPr>
          <p:spPr>
            <a:xfrm>
              <a:off x="5994750" y="3967075"/>
              <a:ext cx="8750" cy="15075"/>
            </a:xfrm>
            <a:custGeom>
              <a:avLst/>
              <a:gdLst/>
              <a:ahLst/>
              <a:cxnLst/>
              <a:rect l="l" t="t" r="r" b="b"/>
              <a:pathLst>
                <a:path w="350" h="603" extrusionOk="0">
                  <a:moveTo>
                    <a:pt x="1" y="0"/>
                  </a:moveTo>
                  <a:lnTo>
                    <a:pt x="1" y="602"/>
                  </a:lnTo>
                  <a:lnTo>
                    <a:pt x="349" y="602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0" name="Google Shape;2690;p30"/>
            <p:cNvSpPr/>
            <p:nvPr/>
          </p:nvSpPr>
          <p:spPr>
            <a:xfrm>
              <a:off x="6004250" y="3962325"/>
              <a:ext cx="14275" cy="17450"/>
            </a:xfrm>
            <a:custGeom>
              <a:avLst/>
              <a:gdLst/>
              <a:ahLst/>
              <a:cxnLst/>
              <a:rect l="l" t="t" r="r" b="b"/>
              <a:pathLst>
                <a:path w="571" h="698" extrusionOk="0">
                  <a:moveTo>
                    <a:pt x="286" y="0"/>
                  </a:moveTo>
                  <a:lnTo>
                    <a:pt x="1" y="159"/>
                  </a:lnTo>
                  <a:lnTo>
                    <a:pt x="286" y="697"/>
                  </a:lnTo>
                  <a:lnTo>
                    <a:pt x="571" y="539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1" name="Google Shape;2691;p30"/>
            <p:cNvSpPr/>
            <p:nvPr/>
          </p:nvSpPr>
          <p:spPr>
            <a:xfrm>
              <a:off x="6012175" y="3954400"/>
              <a:ext cx="16650" cy="15075"/>
            </a:xfrm>
            <a:custGeom>
              <a:avLst/>
              <a:gdLst/>
              <a:ahLst/>
              <a:cxnLst/>
              <a:rect l="l" t="t" r="r" b="b"/>
              <a:pathLst>
                <a:path w="666" h="603" extrusionOk="0">
                  <a:moveTo>
                    <a:pt x="159" y="1"/>
                  </a:moveTo>
                  <a:lnTo>
                    <a:pt x="1" y="286"/>
                  </a:lnTo>
                  <a:lnTo>
                    <a:pt x="507" y="602"/>
                  </a:lnTo>
                  <a:lnTo>
                    <a:pt x="666" y="317"/>
                  </a:lnTo>
                  <a:lnTo>
                    <a:pt x="15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2" name="Google Shape;2692;p30"/>
            <p:cNvSpPr/>
            <p:nvPr/>
          </p:nvSpPr>
          <p:spPr>
            <a:xfrm>
              <a:off x="6016125" y="3945700"/>
              <a:ext cx="15075" cy="7950"/>
            </a:xfrm>
            <a:custGeom>
              <a:avLst/>
              <a:gdLst/>
              <a:ahLst/>
              <a:cxnLst/>
              <a:rect l="l" t="t" r="r" b="b"/>
              <a:pathLst>
                <a:path w="603" h="318" extrusionOk="0">
                  <a:moveTo>
                    <a:pt x="1" y="0"/>
                  </a:moveTo>
                  <a:lnTo>
                    <a:pt x="1" y="317"/>
                  </a:lnTo>
                  <a:lnTo>
                    <a:pt x="603" y="317"/>
                  </a:lnTo>
                  <a:lnTo>
                    <a:pt x="603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3" name="Google Shape;2693;p30"/>
            <p:cNvSpPr/>
            <p:nvPr/>
          </p:nvSpPr>
          <p:spPr>
            <a:xfrm>
              <a:off x="6011375" y="3929875"/>
              <a:ext cx="17450" cy="15050"/>
            </a:xfrm>
            <a:custGeom>
              <a:avLst/>
              <a:gdLst/>
              <a:ahLst/>
              <a:cxnLst/>
              <a:rect l="l" t="t" r="r" b="b"/>
              <a:pathLst>
                <a:path w="698" h="602" extrusionOk="0">
                  <a:moveTo>
                    <a:pt x="539" y="0"/>
                  </a:moveTo>
                  <a:lnTo>
                    <a:pt x="1" y="317"/>
                  </a:lnTo>
                  <a:lnTo>
                    <a:pt x="159" y="602"/>
                  </a:lnTo>
                  <a:lnTo>
                    <a:pt x="698" y="285"/>
                  </a:lnTo>
                  <a:lnTo>
                    <a:pt x="53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4" name="Google Shape;2694;p30"/>
            <p:cNvSpPr/>
            <p:nvPr/>
          </p:nvSpPr>
          <p:spPr>
            <a:xfrm>
              <a:off x="6003475" y="3919575"/>
              <a:ext cx="15050" cy="17450"/>
            </a:xfrm>
            <a:custGeom>
              <a:avLst/>
              <a:gdLst/>
              <a:ahLst/>
              <a:cxnLst/>
              <a:rect l="l" t="t" r="r" b="b"/>
              <a:pathLst>
                <a:path w="602" h="698" extrusionOk="0">
                  <a:moveTo>
                    <a:pt x="317" y="0"/>
                  </a:moveTo>
                  <a:lnTo>
                    <a:pt x="0" y="539"/>
                  </a:lnTo>
                  <a:lnTo>
                    <a:pt x="285" y="697"/>
                  </a:lnTo>
                  <a:lnTo>
                    <a:pt x="602" y="159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5" name="Google Shape;2695;p30"/>
            <p:cNvSpPr/>
            <p:nvPr/>
          </p:nvSpPr>
          <p:spPr>
            <a:xfrm>
              <a:off x="5999500" y="3787350"/>
              <a:ext cx="241500" cy="362625"/>
            </a:xfrm>
            <a:custGeom>
              <a:avLst/>
              <a:gdLst/>
              <a:ahLst/>
              <a:cxnLst/>
              <a:rect l="l" t="t" r="r" b="b"/>
              <a:pathLst>
                <a:path w="9660" h="14505" extrusionOk="0">
                  <a:moveTo>
                    <a:pt x="6145" y="1"/>
                  </a:moveTo>
                  <a:lnTo>
                    <a:pt x="6145" y="1"/>
                  </a:lnTo>
                  <a:cubicBezTo>
                    <a:pt x="6303" y="381"/>
                    <a:pt x="6398" y="761"/>
                    <a:pt x="6461" y="1172"/>
                  </a:cubicBezTo>
                  <a:cubicBezTo>
                    <a:pt x="6715" y="2819"/>
                    <a:pt x="6430" y="4593"/>
                    <a:pt x="5416" y="5891"/>
                  </a:cubicBezTo>
                  <a:cubicBezTo>
                    <a:pt x="3928" y="7791"/>
                    <a:pt x="1046" y="8520"/>
                    <a:pt x="1" y="10641"/>
                  </a:cubicBezTo>
                  <a:cubicBezTo>
                    <a:pt x="349" y="10958"/>
                    <a:pt x="793" y="11148"/>
                    <a:pt x="1299" y="11148"/>
                  </a:cubicBezTo>
                  <a:cubicBezTo>
                    <a:pt x="1648" y="11591"/>
                    <a:pt x="2186" y="11845"/>
                    <a:pt x="2819" y="11845"/>
                  </a:cubicBezTo>
                  <a:cubicBezTo>
                    <a:pt x="3104" y="11845"/>
                    <a:pt x="3358" y="11781"/>
                    <a:pt x="3611" y="11686"/>
                  </a:cubicBezTo>
                  <a:cubicBezTo>
                    <a:pt x="3864" y="12225"/>
                    <a:pt x="4118" y="13112"/>
                    <a:pt x="3959" y="14378"/>
                  </a:cubicBezTo>
                  <a:lnTo>
                    <a:pt x="5290" y="14505"/>
                  </a:lnTo>
                  <a:cubicBezTo>
                    <a:pt x="5290" y="14505"/>
                    <a:pt x="5353" y="12732"/>
                    <a:pt x="5131" y="11528"/>
                  </a:cubicBezTo>
                  <a:lnTo>
                    <a:pt x="5131" y="11528"/>
                  </a:lnTo>
                  <a:cubicBezTo>
                    <a:pt x="5290" y="11560"/>
                    <a:pt x="5448" y="11591"/>
                    <a:pt x="5606" y="11591"/>
                  </a:cubicBezTo>
                  <a:cubicBezTo>
                    <a:pt x="6683" y="11591"/>
                    <a:pt x="7570" y="10705"/>
                    <a:pt x="7570" y="9628"/>
                  </a:cubicBezTo>
                  <a:cubicBezTo>
                    <a:pt x="7570" y="9470"/>
                    <a:pt x="7538" y="9343"/>
                    <a:pt x="7506" y="9185"/>
                  </a:cubicBezTo>
                  <a:lnTo>
                    <a:pt x="7696" y="9185"/>
                  </a:lnTo>
                  <a:cubicBezTo>
                    <a:pt x="8773" y="9185"/>
                    <a:pt x="9660" y="8330"/>
                    <a:pt x="9660" y="7253"/>
                  </a:cubicBezTo>
                  <a:cubicBezTo>
                    <a:pt x="9660" y="6873"/>
                    <a:pt x="9565" y="6556"/>
                    <a:pt x="9375" y="6271"/>
                  </a:cubicBezTo>
                  <a:cubicBezTo>
                    <a:pt x="9565" y="5954"/>
                    <a:pt x="9660" y="5638"/>
                    <a:pt x="9660" y="5258"/>
                  </a:cubicBezTo>
                  <a:cubicBezTo>
                    <a:pt x="9660" y="4593"/>
                    <a:pt x="9312" y="3991"/>
                    <a:pt x="8805" y="3643"/>
                  </a:cubicBezTo>
                  <a:cubicBezTo>
                    <a:pt x="8678" y="2914"/>
                    <a:pt x="8108" y="2312"/>
                    <a:pt x="7380" y="2122"/>
                  </a:cubicBezTo>
                  <a:cubicBezTo>
                    <a:pt x="7411" y="2027"/>
                    <a:pt x="7411" y="1901"/>
                    <a:pt x="7411" y="1806"/>
                  </a:cubicBezTo>
                  <a:cubicBezTo>
                    <a:pt x="7411" y="982"/>
                    <a:pt x="6905" y="286"/>
                    <a:pt x="6145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6" name="Google Shape;2696;p30"/>
            <p:cNvSpPr/>
            <p:nvPr/>
          </p:nvSpPr>
          <p:spPr>
            <a:xfrm>
              <a:off x="4247425" y="2196000"/>
              <a:ext cx="453675" cy="335700"/>
            </a:xfrm>
            <a:custGeom>
              <a:avLst/>
              <a:gdLst/>
              <a:ahLst/>
              <a:cxnLst/>
              <a:rect l="l" t="t" r="r" b="b"/>
              <a:pathLst>
                <a:path w="18147" h="13428" extrusionOk="0">
                  <a:moveTo>
                    <a:pt x="0" y="0"/>
                  </a:moveTo>
                  <a:lnTo>
                    <a:pt x="0" y="12636"/>
                  </a:lnTo>
                  <a:lnTo>
                    <a:pt x="8202" y="12636"/>
                  </a:lnTo>
                  <a:cubicBezTo>
                    <a:pt x="8202" y="13079"/>
                    <a:pt x="8551" y="13428"/>
                    <a:pt x="8994" y="13428"/>
                  </a:cubicBezTo>
                  <a:lnTo>
                    <a:pt x="9153" y="13428"/>
                  </a:lnTo>
                  <a:cubicBezTo>
                    <a:pt x="9596" y="13428"/>
                    <a:pt x="9944" y="13079"/>
                    <a:pt x="9944" y="12636"/>
                  </a:cubicBezTo>
                  <a:lnTo>
                    <a:pt x="18147" y="12636"/>
                  </a:lnTo>
                  <a:lnTo>
                    <a:pt x="18147" y="0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7" name="Google Shape;2697;p30"/>
            <p:cNvSpPr/>
            <p:nvPr/>
          </p:nvSpPr>
          <p:spPr>
            <a:xfrm>
              <a:off x="4267200" y="2173775"/>
              <a:ext cx="209050" cy="334175"/>
            </a:xfrm>
            <a:custGeom>
              <a:avLst/>
              <a:gdLst/>
              <a:ahLst/>
              <a:cxnLst/>
              <a:rect l="l" t="t" r="r" b="b"/>
              <a:pathLst>
                <a:path w="8362" h="13367" extrusionOk="0">
                  <a:moveTo>
                    <a:pt x="990" y="0"/>
                  </a:moveTo>
                  <a:cubicBezTo>
                    <a:pt x="921" y="0"/>
                    <a:pt x="855" y="1"/>
                    <a:pt x="793" y="2"/>
                  </a:cubicBezTo>
                  <a:cubicBezTo>
                    <a:pt x="318" y="34"/>
                    <a:pt x="33" y="66"/>
                    <a:pt x="33" y="66"/>
                  </a:cubicBezTo>
                  <a:lnTo>
                    <a:pt x="1" y="11277"/>
                  </a:lnTo>
                  <a:cubicBezTo>
                    <a:pt x="376" y="11246"/>
                    <a:pt x="743" y="11232"/>
                    <a:pt x="1100" y="11232"/>
                  </a:cubicBezTo>
                  <a:cubicBezTo>
                    <a:pt x="5169" y="11232"/>
                    <a:pt x="7980" y="13073"/>
                    <a:pt x="8330" y="13335"/>
                  </a:cubicBezTo>
                  <a:cubicBezTo>
                    <a:pt x="8362" y="13335"/>
                    <a:pt x="8362" y="13335"/>
                    <a:pt x="8362" y="13367"/>
                  </a:cubicBezTo>
                  <a:lnTo>
                    <a:pt x="8362" y="13335"/>
                  </a:lnTo>
                  <a:lnTo>
                    <a:pt x="8267" y="12227"/>
                  </a:lnTo>
                  <a:lnTo>
                    <a:pt x="7570" y="3264"/>
                  </a:lnTo>
                  <a:lnTo>
                    <a:pt x="7570" y="3169"/>
                  </a:lnTo>
                  <a:cubicBezTo>
                    <a:pt x="7411" y="2979"/>
                    <a:pt x="7221" y="2758"/>
                    <a:pt x="7063" y="2599"/>
                  </a:cubicBezTo>
                  <a:cubicBezTo>
                    <a:pt x="4983" y="338"/>
                    <a:pt x="2358" y="0"/>
                    <a:pt x="990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8" name="Google Shape;2698;p30"/>
            <p:cNvSpPr/>
            <p:nvPr/>
          </p:nvSpPr>
          <p:spPr>
            <a:xfrm>
              <a:off x="4287000" y="2151850"/>
              <a:ext cx="189250" cy="356100"/>
            </a:xfrm>
            <a:custGeom>
              <a:avLst/>
              <a:gdLst/>
              <a:ahLst/>
              <a:cxnLst/>
              <a:rect l="l" t="t" r="r" b="b"/>
              <a:pathLst>
                <a:path w="7570" h="14244" extrusionOk="0">
                  <a:moveTo>
                    <a:pt x="916" y="1"/>
                  </a:moveTo>
                  <a:cubicBezTo>
                    <a:pt x="349" y="1"/>
                    <a:pt x="1" y="56"/>
                    <a:pt x="1" y="56"/>
                  </a:cubicBezTo>
                  <a:lnTo>
                    <a:pt x="1" y="11172"/>
                  </a:lnTo>
                  <a:cubicBezTo>
                    <a:pt x="278" y="11149"/>
                    <a:pt x="549" y="11138"/>
                    <a:pt x="812" y="11138"/>
                  </a:cubicBezTo>
                  <a:cubicBezTo>
                    <a:pt x="4869" y="11138"/>
                    <a:pt x="7181" y="13734"/>
                    <a:pt x="7538" y="14180"/>
                  </a:cubicBezTo>
                  <a:cubicBezTo>
                    <a:pt x="7570" y="14212"/>
                    <a:pt x="7570" y="14212"/>
                    <a:pt x="7570" y="14244"/>
                  </a:cubicBezTo>
                  <a:lnTo>
                    <a:pt x="7570" y="3160"/>
                  </a:lnTo>
                  <a:cubicBezTo>
                    <a:pt x="5413" y="383"/>
                    <a:pt x="2408" y="1"/>
                    <a:pt x="916" y="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9" name="Google Shape;2699;p30"/>
            <p:cNvSpPr/>
            <p:nvPr/>
          </p:nvSpPr>
          <p:spPr>
            <a:xfrm>
              <a:off x="4309175" y="2199150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64" y="1"/>
                    <a:pt x="0" y="32"/>
                    <a:pt x="0" y="96"/>
                  </a:cubicBezTo>
                  <a:cubicBezTo>
                    <a:pt x="0" y="127"/>
                    <a:pt x="32" y="191"/>
                    <a:pt x="95" y="191"/>
                  </a:cubicBezTo>
                  <a:cubicBezTo>
                    <a:pt x="127" y="191"/>
                    <a:pt x="4339" y="444"/>
                    <a:pt x="5827" y="2218"/>
                  </a:cubicBezTo>
                  <a:cubicBezTo>
                    <a:pt x="5827" y="2249"/>
                    <a:pt x="5859" y="2249"/>
                    <a:pt x="5891" y="2249"/>
                  </a:cubicBezTo>
                  <a:cubicBezTo>
                    <a:pt x="5891" y="2249"/>
                    <a:pt x="5922" y="2249"/>
                    <a:pt x="5954" y="2218"/>
                  </a:cubicBezTo>
                  <a:cubicBezTo>
                    <a:pt x="5986" y="2186"/>
                    <a:pt x="5986" y="2123"/>
                    <a:pt x="5954" y="2091"/>
                  </a:cubicBezTo>
                  <a:cubicBezTo>
                    <a:pt x="5321" y="1331"/>
                    <a:pt x="4117" y="729"/>
                    <a:pt x="2439" y="349"/>
                  </a:cubicBezTo>
                  <a:cubicBezTo>
                    <a:pt x="1204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0" name="Google Shape;2700;p30"/>
            <p:cNvSpPr/>
            <p:nvPr/>
          </p:nvSpPr>
          <p:spPr>
            <a:xfrm>
              <a:off x="4309175" y="2235575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64" y="1"/>
                    <a:pt x="0" y="32"/>
                    <a:pt x="0" y="96"/>
                  </a:cubicBezTo>
                  <a:cubicBezTo>
                    <a:pt x="0" y="127"/>
                    <a:pt x="32" y="159"/>
                    <a:pt x="95" y="159"/>
                  </a:cubicBezTo>
                  <a:cubicBezTo>
                    <a:pt x="127" y="159"/>
                    <a:pt x="4339" y="412"/>
                    <a:pt x="5827" y="2217"/>
                  </a:cubicBezTo>
                  <a:cubicBezTo>
                    <a:pt x="5827" y="2217"/>
                    <a:pt x="5859" y="2249"/>
                    <a:pt x="5891" y="2249"/>
                  </a:cubicBezTo>
                  <a:cubicBezTo>
                    <a:pt x="5891" y="2249"/>
                    <a:pt x="5922" y="2217"/>
                    <a:pt x="5954" y="2217"/>
                  </a:cubicBezTo>
                  <a:cubicBezTo>
                    <a:pt x="5986" y="2186"/>
                    <a:pt x="5986" y="2122"/>
                    <a:pt x="5954" y="2091"/>
                  </a:cubicBezTo>
                  <a:cubicBezTo>
                    <a:pt x="5321" y="1299"/>
                    <a:pt x="4117" y="729"/>
                    <a:pt x="2439" y="349"/>
                  </a:cubicBezTo>
                  <a:cubicBezTo>
                    <a:pt x="1204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1" name="Google Shape;2701;p30"/>
            <p:cNvSpPr/>
            <p:nvPr/>
          </p:nvSpPr>
          <p:spPr>
            <a:xfrm>
              <a:off x="4312350" y="226882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95" y="1"/>
                  </a:moveTo>
                  <a:cubicBezTo>
                    <a:pt x="32" y="1"/>
                    <a:pt x="0" y="32"/>
                    <a:pt x="0" y="64"/>
                  </a:cubicBezTo>
                  <a:cubicBezTo>
                    <a:pt x="0" y="127"/>
                    <a:pt x="32" y="159"/>
                    <a:pt x="63" y="159"/>
                  </a:cubicBezTo>
                  <a:cubicBezTo>
                    <a:pt x="127" y="159"/>
                    <a:pt x="4339" y="412"/>
                    <a:pt x="5795" y="2186"/>
                  </a:cubicBezTo>
                  <a:cubicBezTo>
                    <a:pt x="5827" y="2218"/>
                    <a:pt x="5859" y="2218"/>
                    <a:pt x="5859" y="2218"/>
                  </a:cubicBezTo>
                  <a:lnTo>
                    <a:pt x="5922" y="2218"/>
                  </a:lnTo>
                  <a:cubicBezTo>
                    <a:pt x="5954" y="2186"/>
                    <a:pt x="5985" y="2123"/>
                    <a:pt x="5954" y="2091"/>
                  </a:cubicBezTo>
                  <a:cubicBezTo>
                    <a:pt x="5289" y="1299"/>
                    <a:pt x="4117" y="729"/>
                    <a:pt x="2439" y="349"/>
                  </a:cubicBezTo>
                  <a:cubicBezTo>
                    <a:pt x="1172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2" name="Google Shape;2702;p30"/>
            <p:cNvSpPr/>
            <p:nvPr/>
          </p:nvSpPr>
          <p:spPr>
            <a:xfrm>
              <a:off x="4311550" y="231157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95" y="1"/>
                  </a:moveTo>
                  <a:cubicBezTo>
                    <a:pt x="32" y="1"/>
                    <a:pt x="0" y="32"/>
                    <a:pt x="0" y="64"/>
                  </a:cubicBezTo>
                  <a:cubicBezTo>
                    <a:pt x="0" y="127"/>
                    <a:pt x="32" y="159"/>
                    <a:pt x="64" y="159"/>
                  </a:cubicBezTo>
                  <a:cubicBezTo>
                    <a:pt x="127" y="159"/>
                    <a:pt x="4339" y="413"/>
                    <a:pt x="5796" y="2186"/>
                  </a:cubicBezTo>
                  <a:cubicBezTo>
                    <a:pt x="5827" y="2218"/>
                    <a:pt x="5859" y="2218"/>
                    <a:pt x="5891" y="2218"/>
                  </a:cubicBezTo>
                  <a:cubicBezTo>
                    <a:pt x="5891" y="2218"/>
                    <a:pt x="5922" y="2218"/>
                    <a:pt x="5922" y="2186"/>
                  </a:cubicBezTo>
                  <a:cubicBezTo>
                    <a:pt x="5954" y="2154"/>
                    <a:pt x="5986" y="2123"/>
                    <a:pt x="5954" y="2091"/>
                  </a:cubicBezTo>
                  <a:cubicBezTo>
                    <a:pt x="5289" y="1299"/>
                    <a:pt x="4117" y="729"/>
                    <a:pt x="2439" y="317"/>
                  </a:cubicBezTo>
                  <a:cubicBezTo>
                    <a:pt x="1172" y="32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3" name="Google Shape;2703;p30"/>
            <p:cNvSpPr/>
            <p:nvPr/>
          </p:nvSpPr>
          <p:spPr>
            <a:xfrm>
              <a:off x="4311550" y="2347200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32" y="1"/>
                    <a:pt x="0" y="33"/>
                    <a:pt x="0" y="96"/>
                  </a:cubicBezTo>
                  <a:cubicBezTo>
                    <a:pt x="0" y="128"/>
                    <a:pt x="32" y="159"/>
                    <a:pt x="64" y="159"/>
                  </a:cubicBezTo>
                  <a:cubicBezTo>
                    <a:pt x="127" y="159"/>
                    <a:pt x="4339" y="413"/>
                    <a:pt x="5796" y="2218"/>
                  </a:cubicBezTo>
                  <a:cubicBezTo>
                    <a:pt x="5827" y="2218"/>
                    <a:pt x="5859" y="2249"/>
                    <a:pt x="5891" y="2249"/>
                  </a:cubicBezTo>
                  <a:cubicBezTo>
                    <a:pt x="5891" y="2249"/>
                    <a:pt x="5922" y="2218"/>
                    <a:pt x="5922" y="2218"/>
                  </a:cubicBezTo>
                  <a:cubicBezTo>
                    <a:pt x="5954" y="2186"/>
                    <a:pt x="5986" y="2123"/>
                    <a:pt x="5954" y="2091"/>
                  </a:cubicBezTo>
                  <a:cubicBezTo>
                    <a:pt x="5289" y="1299"/>
                    <a:pt x="4117" y="729"/>
                    <a:pt x="2439" y="349"/>
                  </a:cubicBezTo>
                  <a:cubicBezTo>
                    <a:pt x="1172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4" name="Google Shape;2704;p30"/>
            <p:cNvSpPr/>
            <p:nvPr/>
          </p:nvSpPr>
          <p:spPr>
            <a:xfrm>
              <a:off x="4476225" y="2173825"/>
              <a:ext cx="209825" cy="334125"/>
            </a:xfrm>
            <a:custGeom>
              <a:avLst/>
              <a:gdLst/>
              <a:ahLst/>
              <a:cxnLst/>
              <a:rect l="l" t="t" r="r" b="b"/>
              <a:pathLst>
                <a:path w="8393" h="13365" extrusionOk="0">
                  <a:moveTo>
                    <a:pt x="7601" y="0"/>
                  </a:moveTo>
                  <a:cubicBezTo>
                    <a:pt x="7158" y="0"/>
                    <a:pt x="6556" y="32"/>
                    <a:pt x="5859" y="127"/>
                  </a:cubicBezTo>
                  <a:cubicBezTo>
                    <a:pt x="4498" y="380"/>
                    <a:pt x="2787" y="1014"/>
                    <a:pt x="1331" y="2566"/>
                  </a:cubicBezTo>
                  <a:cubicBezTo>
                    <a:pt x="1141" y="2756"/>
                    <a:pt x="982" y="2977"/>
                    <a:pt x="824" y="3167"/>
                  </a:cubicBezTo>
                  <a:lnTo>
                    <a:pt x="824" y="3262"/>
                  </a:lnTo>
                  <a:lnTo>
                    <a:pt x="159" y="11465"/>
                  </a:lnTo>
                  <a:lnTo>
                    <a:pt x="1" y="13365"/>
                  </a:lnTo>
                  <a:lnTo>
                    <a:pt x="32" y="13333"/>
                  </a:lnTo>
                  <a:cubicBezTo>
                    <a:pt x="149" y="13245"/>
                    <a:pt x="3031" y="11233"/>
                    <a:pt x="7323" y="11233"/>
                  </a:cubicBezTo>
                  <a:cubicBezTo>
                    <a:pt x="7671" y="11233"/>
                    <a:pt x="8028" y="11246"/>
                    <a:pt x="8393" y="11275"/>
                  </a:cubicBezTo>
                  <a:lnTo>
                    <a:pt x="8329" y="64"/>
                  </a:lnTo>
                  <a:cubicBezTo>
                    <a:pt x="8329" y="64"/>
                    <a:pt x="8076" y="0"/>
                    <a:pt x="760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5" name="Google Shape;2705;p30"/>
            <p:cNvSpPr/>
            <p:nvPr/>
          </p:nvSpPr>
          <p:spPr>
            <a:xfrm>
              <a:off x="4476225" y="2151825"/>
              <a:ext cx="190050" cy="356125"/>
            </a:xfrm>
            <a:custGeom>
              <a:avLst/>
              <a:gdLst/>
              <a:ahLst/>
              <a:cxnLst/>
              <a:rect l="l" t="t" r="r" b="b"/>
              <a:pathLst>
                <a:path w="7602" h="14245" extrusionOk="0">
                  <a:moveTo>
                    <a:pt x="6686" y="1"/>
                  </a:moveTo>
                  <a:cubicBezTo>
                    <a:pt x="6405" y="1"/>
                    <a:pt x="6070" y="15"/>
                    <a:pt x="5701" y="57"/>
                  </a:cubicBezTo>
                  <a:cubicBezTo>
                    <a:pt x="4086" y="215"/>
                    <a:pt x="1774" y="912"/>
                    <a:pt x="1" y="3161"/>
                  </a:cubicBezTo>
                  <a:lnTo>
                    <a:pt x="1" y="5187"/>
                  </a:lnTo>
                  <a:lnTo>
                    <a:pt x="1" y="12756"/>
                  </a:lnTo>
                  <a:lnTo>
                    <a:pt x="1" y="14213"/>
                  </a:lnTo>
                  <a:lnTo>
                    <a:pt x="1" y="14245"/>
                  </a:lnTo>
                  <a:cubicBezTo>
                    <a:pt x="1" y="14245"/>
                    <a:pt x="1" y="14245"/>
                    <a:pt x="32" y="14213"/>
                  </a:cubicBezTo>
                  <a:cubicBezTo>
                    <a:pt x="182" y="14004"/>
                    <a:pt x="2533" y="11141"/>
                    <a:pt x="6818" y="11141"/>
                  </a:cubicBezTo>
                  <a:cubicBezTo>
                    <a:pt x="7073" y="11141"/>
                    <a:pt x="7333" y="11152"/>
                    <a:pt x="7601" y="11173"/>
                  </a:cubicBezTo>
                  <a:lnTo>
                    <a:pt x="7601" y="57"/>
                  </a:lnTo>
                  <a:cubicBezTo>
                    <a:pt x="7601" y="57"/>
                    <a:pt x="7249" y="1"/>
                    <a:pt x="6686" y="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6" name="Google Shape;2706;p30"/>
            <p:cNvSpPr/>
            <p:nvPr/>
          </p:nvSpPr>
          <p:spPr>
            <a:xfrm>
              <a:off x="4494425" y="2199150"/>
              <a:ext cx="148875" cy="56250"/>
            </a:xfrm>
            <a:custGeom>
              <a:avLst/>
              <a:gdLst/>
              <a:ahLst/>
              <a:cxnLst/>
              <a:rect l="l" t="t" r="r" b="b"/>
              <a:pathLst>
                <a:path w="5955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331"/>
                    <a:pt x="33" y="2091"/>
                  </a:cubicBezTo>
                  <a:cubicBezTo>
                    <a:pt x="1" y="2123"/>
                    <a:pt x="1" y="2186"/>
                    <a:pt x="33" y="2218"/>
                  </a:cubicBezTo>
                  <a:cubicBezTo>
                    <a:pt x="64" y="2249"/>
                    <a:pt x="64" y="2249"/>
                    <a:pt x="96" y="2249"/>
                  </a:cubicBezTo>
                  <a:cubicBezTo>
                    <a:pt x="128" y="2249"/>
                    <a:pt x="128" y="2249"/>
                    <a:pt x="159" y="2218"/>
                  </a:cubicBezTo>
                  <a:cubicBezTo>
                    <a:pt x="1616" y="444"/>
                    <a:pt x="5860" y="191"/>
                    <a:pt x="5891" y="191"/>
                  </a:cubicBezTo>
                  <a:cubicBezTo>
                    <a:pt x="5923" y="191"/>
                    <a:pt x="5955" y="127"/>
                    <a:pt x="5955" y="96"/>
                  </a:cubicBezTo>
                  <a:cubicBezTo>
                    <a:pt x="5955" y="64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7" name="Google Shape;2707;p30"/>
            <p:cNvSpPr/>
            <p:nvPr/>
          </p:nvSpPr>
          <p:spPr>
            <a:xfrm>
              <a:off x="4494425" y="2235575"/>
              <a:ext cx="148875" cy="56250"/>
            </a:xfrm>
            <a:custGeom>
              <a:avLst/>
              <a:gdLst/>
              <a:ahLst/>
              <a:cxnLst/>
              <a:rect l="l" t="t" r="r" b="b"/>
              <a:pathLst>
                <a:path w="5955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2"/>
                    <a:pt x="1" y="2186"/>
                    <a:pt x="33" y="2217"/>
                  </a:cubicBezTo>
                  <a:cubicBezTo>
                    <a:pt x="64" y="2217"/>
                    <a:pt x="64" y="2249"/>
                    <a:pt x="96" y="2249"/>
                  </a:cubicBezTo>
                  <a:cubicBezTo>
                    <a:pt x="128" y="2249"/>
                    <a:pt x="128" y="2217"/>
                    <a:pt x="159" y="2217"/>
                  </a:cubicBezTo>
                  <a:cubicBezTo>
                    <a:pt x="1616" y="412"/>
                    <a:pt x="5860" y="159"/>
                    <a:pt x="5891" y="159"/>
                  </a:cubicBezTo>
                  <a:cubicBezTo>
                    <a:pt x="5923" y="159"/>
                    <a:pt x="5955" y="127"/>
                    <a:pt x="5955" y="96"/>
                  </a:cubicBezTo>
                  <a:cubicBezTo>
                    <a:pt x="5955" y="32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8" name="Google Shape;2708;p30"/>
            <p:cNvSpPr/>
            <p:nvPr/>
          </p:nvSpPr>
          <p:spPr>
            <a:xfrm>
              <a:off x="4491275" y="226882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5891" y="1"/>
                  </a:moveTo>
                  <a:cubicBezTo>
                    <a:pt x="5891" y="1"/>
                    <a:pt x="4782" y="64"/>
                    <a:pt x="3547" y="349"/>
                  </a:cubicBezTo>
                  <a:cubicBezTo>
                    <a:pt x="1869" y="729"/>
                    <a:pt x="665" y="1299"/>
                    <a:pt x="32" y="2091"/>
                  </a:cubicBezTo>
                  <a:cubicBezTo>
                    <a:pt x="0" y="2123"/>
                    <a:pt x="0" y="2186"/>
                    <a:pt x="32" y="2218"/>
                  </a:cubicBezTo>
                  <a:lnTo>
                    <a:pt x="95" y="2218"/>
                  </a:lnTo>
                  <a:cubicBezTo>
                    <a:pt x="127" y="2218"/>
                    <a:pt x="159" y="2218"/>
                    <a:pt x="159" y="2186"/>
                  </a:cubicBezTo>
                  <a:cubicBezTo>
                    <a:pt x="1647" y="412"/>
                    <a:pt x="5859" y="159"/>
                    <a:pt x="5891" y="159"/>
                  </a:cubicBezTo>
                  <a:cubicBezTo>
                    <a:pt x="5954" y="159"/>
                    <a:pt x="5986" y="127"/>
                    <a:pt x="5986" y="64"/>
                  </a:cubicBezTo>
                  <a:cubicBezTo>
                    <a:pt x="5986" y="32"/>
                    <a:pt x="5922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9" name="Google Shape;2709;p30"/>
            <p:cNvSpPr/>
            <p:nvPr/>
          </p:nvSpPr>
          <p:spPr>
            <a:xfrm>
              <a:off x="4492050" y="2311575"/>
              <a:ext cx="149675" cy="55450"/>
            </a:xfrm>
            <a:custGeom>
              <a:avLst/>
              <a:gdLst/>
              <a:ahLst/>
              <a:cxnLst/>
              <a:rect l="l" t="t" r="r" b="b"/>
              <a:pathLst>
                <a:path w="5987" h="2218" extrusionOk="0">
                  <a:moveTo>
                    <a:pt x="5891" y="1"/>
                  </a:moveTo>
                  <a:cubicBezTo>
                    <a:pt x="5860" y="1"/>
                    <a:pt x="4783" y="32"/>
                    <a:pt x="3548" y="317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3"/>
                    <a:pt x="1" y="2154"/>
                    <a:pt x="33" y="2186"/>
                  </a:cubicBezTo>
                  <a:cubicBezTo>
                    <a:pt x="64" y="2218"/>
                    <a:pt x="64" y="2218"/>
                    <a:pt x="96" y="2218"/>
                  </a:cubicBezTo>
                  <a:cubicBezTo>
                    <a:pt x="128" y="2218"/>
                    <a:pt x="159" y="2218"/>
                    <a:pt x="159" y="2186"/>
                  </a:cubicBezTo>
                  <a:cubicBezTo>
                    <a:pt x="1648" y="413"/>
                    <a:pt x="5860" y="159"/>
                    <a:pt x="5891" y="159"/>
                  </a:cubicBezTo>
                  <a:cubicBezTo>
                    <a:pt x="5955" y="159"/>
                    <a:pt x="5986" y="127"/>
                    <a:pt x="5986" y="64"/>
                  </a:cubicBezTo>
                  <a:cubicBezTo>
                    <a:pt x="5986" y="32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0" name="Google Shape;2710;p30"/>
            <p:cNvSpPr/>
            <p:nvPr/>
          </p:nvSpPr>
          <p:spPr>
            <a:xfrm>
              <a:off x="4492050" y="2347200"/>
              <a:ext cx="149675" cy="56250"/>
            </a:xfrm>
            <a:custGeom>
              <a:avLst/>
              <a:gdLst/>
              <a:ahLst/>
              <a:cxnLst/>
              <a:rect l="l" t="t" r="r" b="b"/>
              <a:pathLst>
                <a:path w="5987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3"/>
                    <a:pt x="1" y="2186"/>
                    <a:pt x="33" y="2218"/>
                  </a:cubicBezTo>
                  <a:cubicBezTo>
                    <a:pt x="64" y="2218"/>
                    <a:pt x="64" y="2249"/>
                    <a:pt x="96" y="2249"/>
                  </a:cubicBezTo>
                  <a:cubicBezTo>
                    <a:pt x="128" y="2249"/>
                    <a:pt x="159" y="2218"/>
                    <a:pt x="159" y="2218"/>
                  </a:cubicBezTo>
                  <a:cubicBezTo>
                    <a:pt x="1648" y="413"/>
                    <a:pt x="5860" y="159"/>
                    <a:pt x="5891" y="159"/>
                  </a:cubicBezTo>
                  <a:cubicBezTo>
                    <a:pt x="5955" y="159"/>
                    <a:pt x="5986" y="128"/>
                    <a:pt x="5986" y="96"/>
                  </a:cubicBezTo>
                  <a:cubicBezTo>
                    <a:pt x="5986" y="33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1" name="Google Shape;2711;p30"/>
            <p:cNvSpPr/>
            <p:nvPr/>
          </p:nvSpPr>
          <p:spPr>
            <a:xfrm>
              <a:off x="4473050" y="2151825"/>
              <a:ext cx="213000" cy="356125"/>
            </a:xfrm>
            <a:custGeom>
              <a:avLst/>
              <a:gdLst/>
              <a:ahLst/>
              <a:cxnLst/>
              <a:rect l="l" t="t" r="r" b="b"/>
              <a:pathLst>
                <a:path w="8520" h="14245" extrusionOk="0">
                  <a:moveTo>
                    <a:pt x="6804" y="1"/>
                  </a:moveTo>
                  <a:cubicBezTo>
                    <a:pt x="6518" y="1"/>
                    <a:pt x="6176" y="15"/>
                    <a:pt x="5796" y="57"/>
                  </a:cubicBezTo>
                  <a:cubicBezTo>
                    <a:pt x="5828" y="120"/>
                    <a:pt x="5828" y="184"/>
                    <a:pt x="5860" y="279"/>
                  </a:cubicBezTo>
                  <a:cubicBezTo>
                    <a:pt x="5923" y="532"/>
                    <a:pt x="5955" y="754"/>
                    <a:pt x="5986" y="1007"/>
                  </a:cubicBezTo>
                  <a:cubicBezTo>
                    <a:pt x="6018" y="1324"/>
                    <a:pt x="6018" y="1640"/>
                    <a:pt x="5986" y="1957"/>
                  </a:cubicBezTo>
                  <a:cubicBezTo>
                    <a:pt x="5986" y="2020"/>
                    <a:pt x="5986" y="2084"/>
                    <a:pt x="5986" y="2147"/>
                  </a:cubicBezTo>
                  <a:cubicBezTo>
                    <a:pt x="5955" y="2591"/>
                    <a:pt x="5891" y="3002"/>
                    <a:pt x="5796" y="3446"/>
                  </a:cubicBezTo>
                  <a:cubicBezTo>
                    <a:pt x="5796" y="3509"/>
                    <a:pt x="5765" y="3572"/>
                    <a:pt x="5765" y="3604"/>
                  </a:cubicBezTo>
                  <a:cubicBezTo>
                    <a:pt x="5638" y="4016"/>
                    <a:pt x="5511" y="4427"/>
                    <a:pt x="5353" y="4807"/>
                  </a:cubicBezTo>
                  <a:cubicBezTo>
                    <a:pt x="5321" y="4871"/>
                    <a:pt x="5290" y="4934"/>
                    <a:pt x="5290" y="4997"/>
                  </a:cubicBezTo>
                  <a:cubicBezTo>
                    <a:pt x="5163" y="5219"/>
                    <a:pt x="5068" y="5441"/>
                    <a:pt x="4941" y="5662"/>
                  </a:cubicBezTo>
                  <a:cubicBezTo>
                    <a:pt x="4751" y="6011"/>
                    <a:pt x="4561" y="6359"/>
                    <a:pt x="4340" y="6707"/>
                  </a:cubicBezTo>
                  <a:cubicBezTo>
                    <a:pt x="4308" y="6771"/>
                    <a:pt x="4245" y="6834"/>
                    <a:pt x="4213" y="6929"/>
                  </a:cubicBezTo>
                  <a:cubicBezTo>
                    <a:pt x="3833" y="7468"/>
                    <a:pt x="3453" y="7974"/>
                    <a:pt x="3041" y="8513"/>
                  </a:cubicBezTo>
                  <a:cubicBezTo>
                    <a:pt x="2978" y="8608"/>
                    <a:pt x="2914" y="8671"/>
                    <a:pt x="2851" y="8766"/>
                  </a:cubicBezTo>
                  <a:cubicBezTo>
                    <a:pt x="2249" y="9526"/>
                    <a:pt x="1616" y="10286"/>
                    <a:pt x="1046" y="11078"/>
                  </a:cubicBezTo>
                  <a:cubicBezTo>
                    <a:pt x="761" y="11489"/>
                    <a:pt x="476" y="11901"/>
                    <a:pt x="286" y="12345"/>
                  </a:cubicBezTo>
                  <a:cubicBezTo>
                    <a:pt x="223" y="12471"/>
                    <a:pt x="191" y="12598"/>
                    <a:pt x="128" y="12725"/>
                  </a:cubicBezTo>
                  <a:cubicBezTo>
                    <a:pt x="128" y="12725"/>
                    <a:pt x="128" y="12756"/>
                    <a:pt x="128" y="12756"/>
                  </a:cubicBezTo>
                  <a:cubicBezTo>
                    <a:pt x="96" y="12851"/>
                    <a:pt x="64" y="12978"/>
                    <a:pt x="33" y="13105"/>
                  </a:cubicBezTo>
                  <a:cubicBezTo>
                    <a:pt x="33" y="13263"/>
                    <a:pt x="1" y="13421"/>
                    <a:pt x="1" y="13580"/>
                  </a:cubicBezTo>
                  <a:cubicBezTo>
                    <a:pt x="1" y="13801"/>
                    <a:pt x="33" y="13991"/>
                    <a:pt x="96" y="14181"/>
                  </a:cubicBezTo>
                  <a:cubicBezTo>
                    <a:pt x="96" y="14181"/>
                    <a:pt x="96" y="14181"/>
                    <a:pt x="96" y="14213"/>
                  </a:cubicBezTo>
                  <a:lnTo>
                    <a:pt x="128" y="14213"/>
                  </a:lnTo>
                  <a:lnTo>
                    <a:pt x="128" y="14245"/>
                  </a:lnTo>
                  <a:cubicBezTo>
                    <a:pt x="128" y="14245"/>
                    <a:pt x="128" y="14245"/>
                    <a:pt x="159" y="14213"/>
                  </a:cubicBezTo>
                  <a:cubicBezTo>
                    <a:pt x="276" y="14125"/>
                    <a:pt x="3158" y="12113"/>
                    <a:pt x="7450" y="12113"/>
                  </a:cubicBezTo>
                  <a:cubicBezTo>
                    <a:pt x="7798" y="12113"/>
                    <a:pt x="8155" y="12126"/>
                    <a:pt x="8520" y="12155"/>
                  </a:cubicBezTo>
                  <a:lnTo>
                    <a:pt x="8456" y="944"/>
                  </a:lnTo>
                  <a:cubicBezTo>
                    <a:pt x="8456" y="944"/>
                    <a:pt x="8171" y="880"/>
                    <a:pt x="7728" y="880"/>
                  </a:cubicBezTo>
                  <a:lnTo>
                    <a:pt x="7728" y="57"/>
                  </a:lnTo>
                  <a:cubicBezTo>
                    <a:pt x="7728" y="57"/>
                    <a:pt x="7376" y="1"/>
                    <a:pt x="6804" y="1"/>
                  </a:cubicBezTo>
                  <a:close/>
                </a:path>
              </a:pathLst>
            </a:custGeom>
            <a:solidFill>
              <a:srgbClr val="CECECE">
                <a:alpha val="2849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2" name="Google Shape;2712;p30"/>
            <p:cNvSpPr/>
            <p:nvPr/>
          </p:nvSpPr>
          <p:spPr>
            <a:xfrm>
              <a:off x="2821525" y="3877500"/>
              <a:ext cx="118775" cy="116525"/>
            </a:xfrm>
            <a:custGeom>
              <a:avLst/>
              <a:gdLst/>
              <a:ahLst/>
              <a:cxnLst/>
              <a:rect l="l" t="t" r="r" b="b"/>
              <a:pathLst>
                <a:path w="4751" h="4661" extrusionOk="0">
                  <a:moveTo>
                    <a:pt x="2" y="3108"/>
                  </a:moveTo>
                  <a:cubicBezTo>
                    <a:pt x="1" y="3108"/>
                    <a:pt x="0" y="3108"/>
                    <a:pt x="0" y="3108"/>
                  </a:cubicBezTo>
                  <a:cubicBezTo>
                    <a:pt x="0" y="3109"/>
                    <a:pt x="1" y="3109"/>
                    <a:pt x="1" y="3109"/>
                  </a:cubicBezTo>
                  <a:cubicBezTo>
                    <a:pt x="1" y="3109"/>
                    <a:pt x="2" y="3109"/>
                    <a:pt x="2" y="3108"/>
                  </a:cubicBezTo>
                  <a:close/>
                  <a:moveTo>
                    <a:pt x="294" y="1"/>
                  </a:moveTo>
                  <a:cubicBezTo>
                    <a:pt x="218" y="1"/>
                    <a:pt x="141" y="2"/>
                    <a:pt x="64" y="5"/>
                  </a:cubicBezTo>
                  <a:cubicBezTo>
                    <a:pt x="64" y="5"/>
                    <a:pt x="33" y="3046"/>
                    <a:pt x="2" y="3108"/>
                  </a:cubicBezTo>
                  <a:lnTo>
                    <a:pt x="2" y="3108"/>
                  </a:lnTo>
                  <a:cubicBezTo>
                    <a:pt x="6" y="3108"/>
                    <a:pt x="17" y="3108"/>
                    <a:pt x="34" y="3108"/>
                  </a:cubicBezTo>
                  <a:cubicBezTo>
                    <a:pt x="311" y="3108"/>
                    <a:pt x="2250" y="3163"/>
                    <a:pt x="3072" y="4660"/>
                  </a:cubicBezTo>
                  <a:cubicBezTo>
                    <a:pt x="3072" y="4660"/>
                    <a:pt x="3959" y="2095"/>
                    <a:pt x="4751" y="1588"/>
                  </a:cubicBezTo>
                  <a:cubicBezTo>
                    <a:pt x="4751" y="1588"/>
                    <a:pt x="2983" y="1"/>
                    <a:pt x="294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3" name="Google Shape;2713;p30"/>
            <p:cNvSpPr/>
            <p:nvPr/>
          </p:nvSpPr>
          <p:spPr>
            <a:xfrm>
              <a:off x="2913350" y="3876025"/>
              <a:ext cx="169450" cy="300875"/>
            </a:xfrm>
            <a:custGeom>
              <a:avLst/>
              <a:gdLst/>
              <a:ahLst/>
              <a:cxnLst/>
              <a:rect l="l" t="t" r="r" b="b"/>
              <a:pathLst>
                <a:path w="6778" h="12035" extrusionOk="0">
                  <a:moveTo>
                    <a:pt x="6303" y="1"/>
                  </a:moveTo>
                  <a:cubicBezTo>
                    <a:pt x="5923" y="64"/>
                    <a:pt x="5195" y="127"/>
                    <a:pt x="4371" y="381"/>
                  </a:cubicBezTo>
                  <a:cubicBezTo>
                    <a:pt x="2471" y="951"/>
                    <a:pt x="1" y="2312"/>
                    <a:pt x="1" y="5764"/>
                  </a:cubicBezTo>
                  <a:lnTo>
                    <a:pt x="1" y="12035"/>
                  </a:lnTo>
                  <a:lnTo>
                    <a:pt x="3231" y="12035"/>
                  </a:lnTo>
                  <a:lnTo>
                    <a:pt x="3231" y="5923"/>
                  </a:lnTo>
                  <a:cubicBezTo>
                    <a:pt x="3231" y="5923"/>
                    <a:pt x="3294" y="3547"/>
                    <a:pt x="6303" y="3231"/>
                  </a:cubicBezTo>
                  <a:cubicBezTo>
                    <a:pt x="6461" y="3231"/>
                    <a:pt x="6620" y="3199"/>
                    <a:pt x="6778" y="3199"/>
                  </a:cubicBezTo>
                  <a:lnTo>
                    <a:pt x="6588" y="1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4" name="Google Shape;2714;p30"/>
            <p:cNvSpPr/>
            <p:nvPr/>
          </p:nvSpPr>
          <p:spPr>
            <a:xfrm>
              <a:off x="2912575" y="3785775"/>
              <a:ext cx="81575" cy="120350"/>
            </a:xfrm>
            <a:custGeom>
              <a:avLst/>
              <a:gdLst/>
              <a:ahLst/>
              <a:cxnLst/>
              <a:rect l="l" t="t" r="r" b="b"/>
              <a:pathLst>
                <a:path w="3263" h="4814" extrusionOk="0">
                  <a:moveTo>
                    <a:pt x="0" y="0"/>
                  </a:moveTo>
                  <a:lnTo>
                    <a:pt x="0" y="3674"/>
                  </a:lnTo>
                  <a:lnTo>
                    <a:pt x="1647" y="4814"/>
                  </a:lnTo>
                  <a:lnTo>
                    <a:pt x="3262" y="3611"/>
                  </a:lnTo>
                  <a:lnTo>
                    <a:pt x="3262" y="0"/>
                  </a:lnTo>
                  <a:cubicBezTo>
                    <a:pt x="3262" y="0"/>
                    <a:pt x="1883" y="71"/>
                    <a:pt x="916" y="71"/>
                  </a:cubicBezTo>
                  <a:cubicBezTo>
                    <a:pt x="433" y="71"/>
                    <a:pt x="53" y="53"/>
                    <a:pt x="0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5" name="Google Shape;2715;p30"/>
            <p:cNvSpPr/>
            <p:nvPr/>
          </p:nvSpPr>
          <p:spPr>
            <a:xfrm>
              <a:off x="2861900" y="3663250"/>
              <a:ext cx="186075" cy="127300"/>
            </a:xfrm>
            <a:custGeom>
              <a:avLst/>
              <a:gdLst/>
              <a:ahLst/>
              <a:cxnLst/>
              <a:rect l="l" t="t" r="r" b="b"/>
              <a:pathLst>
                <a:path w="7443" h="5092" extrusionOk="0">
                  <a:moveTo>
                    <a:pt x="3717" y="1"/>
                  </a:moveTo>
                  <a:cubicBezTo>
                    <a:pt x="3634" y="1"/>
                    <a:pt x="3547" y="40"/>
                    <a:pt x="3484" y="119"/>
                  </a:cubicBezTo>
                  <a:lnTo>
                    <a:pt x="3357" y="309"/>
                  </a:lnTo>
                  <a:lnTo>
                    <a:pt x="127" y="4648"/>
                  </a:lnTo>
                  <a:cubicBezTo>
                    <a:pt x="0" y="4838"/>
                    <a:pt x="127" y="5091"/>
                    <a:pt x="349" y="5091"/>
                  </a:cubicBezTo>
                  <a:lnTo>
                    <a:pt x="7094" y="5091"/>
                  </a:lnTo>
                  <a:cubicBezTo>
                    <a:pt x="7316" y="5091"/>
                    <a:pt x="7443" y="4838"/>
                    <a:pt x="7316" y="4648"/>
                  </a:cubicBezTo>
                  <a:lnTo>
                    <a:pt x="3927" y="119"/>
                  </a:lnTo>
                  <a:cubicBezTo>
                    <a:pt x="3880" y="40"/>
                    <a:pt x="3801" y="1"/>
                    <a:pt x="3717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6" name="Google Shape;2716;p30"/>
            <p:cNvSpPr/>
            <p:nvPr/>
          </p:nvSpPr>
          <p:spPr>
            <a:xfrm>
              <a:off x="2698000" y="3825675"/>
              <a:ext cx="128300" cy="182275"/>
            </a:xfrm>
            <a:custGeom>
              <a:avLst/>
              <a:gdLst/>
              <a:ahLst/>
              <a:cxnLst/>
              <a:rect l="l" t="t" r="r" b="b"/>
              <a:pathLst>
                <a:path w="5132" h="7291" extrusionOk="0">
                  <a:moveTo>
                    <a:pt x="4851" y="1"/>
                  </a:moveTo>
                  <a:cubicBezTo>
                    <a:pt x="4796" y="1"/>
                    <a:pt x="4740" y="16"/>
                    <a:pt x="4688" y="51"/>
                  </a:cubicBezTo>
                  <a:lnTo>
                    <a:pt x="159" y="3440"/>
                  </a:lnTo>
                  <a:cubicBezTo>
                    <a:pt x="1" y="3535"/>
                    <a:pt x="1" y="3756"/>
                    <a:pt x="159" y="3883"/>
                  </a:cubicBezTo>
                  <a:lnTo>
                    <a:pt x="4688" y="7240"/>
                  </a:lnTo>
                  <a:cubicBezTo>
                    <a:pt x="4740" y="7275"/>
                    <a:pt x="4796" y="7290"/>
                    <a:pt x="4851" y="7290"/>
                  </a:cubicBezTo>
                  <a:cubicBezTo>
                    <a:pt x="4997" y="7290"/>
                    <a:pt x="5131" y="7179"/>
                    <a:pt x="5131" y="7018"/>
                  </a:cubicBezTo>
                  <a:lnTo>
                    <a:pt x="5131" y="273"/>
                  </a:lnTo>
                  <a:cubicBezTo>
                    <a:pt x="5131" y="112"/>
                    <a:pt x="4997" y="1"/>
                    <a:pt x="4851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7" name="Google Shape;2717;p30"/>
            <p:cNvSpPr/>
            <p:nvPr/>
          </p:nvSpPr>
          <p:spPr>
            <a:xfrm>
              <a:off x="3070900" y="3825675"/>
              <a:ext cx="128300" cy="182275"/>
            </a:xfrm>
            <a:custGeom>
              <a:avLst/>
              <a:gdLst/>
              <a:ahLst/>
              <a:cxnLst/>
              <a:rect l="l" t="t" r="r" b="b"/>
              <a:pathLst>
                <a:path w="5132" h="7291" extrusionOk="0">
                  <a:moveTo>
                    <a:pt x="281" y="1"/>
                  </a:moveTo>
                  <a:cubicBezTo>
                    <a:pt x="135" y="1"/>
                    <a:pt x="1" y="112"/>
                    <a:pt x="1" y="273"/>
                  </a:cubicBezTo>
                  <a:lnTo>
                    <a:pt x="1" y="7018"/>
                  </a:lnTo>
                  <a:cubicBezTo>
                    <a:pt x="1" y="7179"/>
                    <a:pt x="135" y="7290"/>
                    <a:pt x="281" y="7290"/>
                  </a:cubicBezTo>
                  <a:cubicBezTo>
                    <a:pt x="336" y="7290"/>
                    <a:pt x="392" y="7275"/>
                    <a:pt x="444" y="7240"/>
                  </a:cubicBezTo>
                  <a:lnTo>
                    <a:pt x="4973" y="3883"/>
                  </a:lnTo>
                  <a:cubicBezTo>
                    <a:pt x="5131" y="3756"/>
                    <a:pt x="5131" y="3535"/>
                    <a:pt x="4973" y="3440"/>
                  </a:cubicBezTo>
                  <a:lnTo>
                    <a:pt x="444" y="51"/>
                  </a:lnTo>
                  <a:cubicBezTo>
                    <a:pt x="392" y="16"/>
                    <a:pt x="336" y="1"/>
                    <a:pt x="281" y="1"/>
                  </a:cubicBezTo>
                  <a:close/>
                </a:path>
              </a:pathLst>
            </a:custGeom>
            <a:solidFill>
              <a:srgbClr val="D0565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8" name="Google Shape;2718;p30"/>
            <p:cNvSpPr/>
            <p:nvPr/>
          </p:nvSpPr>
          <p:spPr>
            <a:xfrm>
              <a:off x="2944225" y="3663250"/>
              <a:ext cx="103750" cy="127300"/>
            </a:xfrm>
            <a:custGeom>
              <a:avLst/>
              <a:gdLst/>
              <a:ahLst/>
              <a:cxnLst/>
              <a:rect l="l" t="t" r="r" b="b"/>
              <a:pathLst>
                <a:path w="4150" h="5092" extrusionOk="0">
                  <a:moveTo>
                    <a:pt x="424" y="1"/>
                  </a:moveTo>
                  <a:cubicBezTo>
                    <a:pt x="341" y="1"/>
                    <a:pt x="254" y="40"/>
                    <a:pt x="191" y="119"/>
                  </a:cubicBezTo>
                  <a:lnTo>
                    <a:pt x="64" y="309"/>
                  </a:lnTo>
                  <a:cubicBezTo>
                    <a:pt x="1" y="1544"/>
                    <a:pt x="919" y="3223"/>
                    <a:pt x="1363" y="3951"/>
                  </a:cubicBezTo>
                  <a:cubicBezTo>
                    <a:pt x="1553" y="4268"/>
                    <a:pt x="1743" y="4585"/>
                    <a:pt x="1933" y="4901"/>
                  </a:cubicBezTo>
                  <a:cubicBezTo>
                    <a:pt x="1964" y="4933"/>
                    <a:pt x="1996" y="4965"/>
                    <a:pt x="1996" y="4996"/>
                  </a:cubicBezTo>
                  <a:cubicBezTo>
                    <a:pt x="2028" y="5028"/>
                    <a:pt x="2028" y="5060"/>
                    <a:pt x="2059" y="5091"/>
                  </a:cubicBezTo>
                  <a:lnTo>
                    <a:pt x="3769" y="5091"/>
                  </a:lnTo>
                  <a:cubicBezTo>
                    <a:pt x="4023" y="5091"/>
                    <a:pt x="4150" y="4838"/>
                    <a:pt x="3991" y="4648"/>
                  </a:cubicBezTo>
                  <a:lnTo>
                    <a:pt x="634" y="119"/>
                  </a:lnTo>
                  <a:cubicBezTo>
                    <a:pt x="587" y="40"/>
                    <a:pt x="508" y="1"/>
                    <a:pt x="424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9" name="Google Shape;2719;p30"/>
            <p:cNvSpPr/>
            <p:nvPr/>
          </p:nvSpPr>
          <p:spPr>
            <a:xfrm>
              <a:off x="2951350" y="3825675"/>
              <a:ext cx="247850" cy="351225"/>
            </a:xfrm>
            <a:custGeom>
              <a:avLst/>
              <a:gdLst/>
              <a:ahLst/>
              <a:cxnLst/>
              <a:rect l="l" t="t" r="r" b="b"/>
              <a:pathLst>
                <a:path w="9914" h="14049" extrusionOk="0">
                  <a:moveTo>
                    <a:pt x="5076" y="1"/>
                  </a:moveTo>
                  <a:cubicBezTo>
                    <a:pt x="4933" y="1"/>
                    <a:pt x="4783" y="112"/>
                    <a:pt x="4783" y="273"/>
                  </a:cubicBezTo>
                  <a:lnTo>
                    <a:pt x="4783" y="2046"/>
                  </a:lnTo>
                  <a:cubicBezTo>
                    <a:pt x="4403" y="2078"/>
                    <a:pt x="3706" y="2141"/>
                    <a:pt x="2883" y="2395"/>
                  </a:cubicBezTo>
                  <a:cubicBezTo>
                    <a:pt x="2629" y="4263"/>
                    <a:pt x="1141" y="5783"/>
                    <a:pt x="476" y="7588"/>
                  </a:cubicBezTo>
                  <a:cubicBezTo>
                    <a:pt x="1" y="8950"/>
                    <a:pt x="33" y="10438"/>
                    <a:pt x="64" y="11895"/>
                  </a:cubicBezTo>
                  <a:cubicBezTo>
                    <a:pt x="96" y="12592"/>
                    <a:pt x="128" y="13352"/>
                    <a:pt x="286" y="14049"/>
                  </a:cubicBezTo>
                  <a:lnTo>
                    <a:pt x="1743" y="14049"/>
                  </a:lnTo>
                  <a:lnTo>
                    <a:pt x="1743" y="7937"/>
                  </a:lnTo>
                  <a:cubicBezTo>
                    <a:pt x="1743" y="7937"/>
                    <a:pt x="1806" y="5561"/>
                    <a:pt x="4783" y="5245"/>
                  </a:cubicBezTo>
                  <a:lnTo>
                    <a:pt x="4783" y="7018"/>
                  </a:lnTo>
                  <a:cubicBezTo>
                    <a:pt x="4783" y="7179"/>
                    <a:pt x="4933" y="7290"/>
                    <a:pt x="5076" y="7290"/>
                  </a:cubicBezTo>
                  <a:cubicBezTo>
                    <a:pt x="5130" y="7290"/>
                    <a:pt x="5183" y="7275"/>
                    <a:pt x="5226" y="7240"/>
                  </a:cubicBezTo>
                  <a:lnTo>
                    <a:pt x="9787" y="3883"/>
                  </a:lnTo>
                  <a:cubicBezTo>
                    <a:pt x="9913" y="3756"/>
                    <a:pt x="9913" y="3535"/>
                    <a:pt x="9787" y="3440"/>
                  </a:cubicBezTo>
                  <a:lnTo>
                    <a:pt x="5226" y="51"/>
                  </a:lnTo>
                  <a:cubicBezTo>
                    <a:pt x="5183" y="16"/>
                    <a:pt x="5130" y="1"/>
                    <a:pt x="5076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720" name="Google Shape;2720;p30"/>
          <p:cNvSpPr txBox="1"/>
          <p:nvPr/>
        </p:nvSpPr>
        <p:spPr>
          <a:xfrm>
            <a:off x="956533" y="548633"/>
            <a:ext cx="10298000" cy="6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3733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Marketing Strategies</a:t>
            </a:r>
            <a:endParaRPr sz="3733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1" name="Google Shape;2721;p30"/>
          <p:cNvSpPr txBox="1"/>
          <p:nvPr/>
        </p:nvSpPr>
        <p:spPr>
          <a:xfrm>
            <a:off x="1029890" y="4987319"/>
            <a:ext cx="2524718" cy="8459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Localized Content Creation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3" name="Google Shape;2723;p30"/>
          <p:cNvSpPr txBox="1"/>
          <p:nvPr/>
        </p:nvSpPr>
        <p:spPr>
          <a:xfrm>
            <a:off x="3514084" y="1837445"/>
            <a:ext cx="2353600" cy="912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Webinars and Workshops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5" name="Google Shape;2725;p30"/>
          <p:cNvSpPr txBox="1"/>
          <p:nvPr/>
        </p:nvSpPr>
        <p:spPr>
          <a:xfrm>
            <a:off x="6003632" y="4952666"/>
            <a:ext cx="2353600" cy="880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Partnerships and Alliances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7" name="Google Shape;2727;p30"/>
          <p:cNvSpPr txBox="1"/>
          <p:nvPr/>
        </p:nvSpPr>
        <p:spPr>
          <a:xfrm>
            <a:off x="8496048" y="1837439"/>
            <a:ext cx="2353600" cy="821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Leverage EdTech Ecosystem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22E745-4079-5F10-4304-B487C1BB3A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1669517-41FC-43D6-C76A-47417A6785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89" name="Google Shape;2589;p30"/>
          <p:cNvGrpSpPr/>
          <p:nvPr/>
        </p:nvGrpSpPr>
        <p:grpSpPr>
          <a:xfrm>
            <a:off x="2165578" y="1656261"/>
            <a:ext cx="9028644" cy="4176958"/>
            <a:chOff x="599938" y="1815975"/>
            <a:chExt cx="5541312" cy="2563600"/>
          </a:xfrm>
        </p:grpSpPr>
        <p:sp>
          <p:nvSpPr>
            <p:cNvPr id="2590" name="Google Shape;2590;p30"/>
            <p:cNvSpPr/>
            <p:nvPr/>
          </p:nvSpPr>
          <p:spPr>
            <a:xfrm>
              <a:off x="713150" y="3083500"/>
              <a:ext cx="4877825" cy="78528"/>
            </a:xfrm>
            <a:custGeom>
              <a:avLst/>
              <a:gdLst/>
              <a:ahLst/>
              <a:cxnLst/>
              <a:rect l="l" t="t" r="r" b="b"/>
              <a:pathLst>
                <a:path w="248730" h="2218" extrusionOk="0">
                  <a:moveTo>
                    <a:pt x="0" y="1"/>
                  </a:moveTo>
                  <a:lnTo>
                    <a:pt x="0" y="2218"/>
                  </a:lnTo>
                  <a:lnTo>
                    <a:pt x="248729" y="2218"/>
                  </a:lnTo>
                  <a:lnTo>
                    <a:pt x="24872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1" name="Google Shape;2591;p30"/>
            <p:cNvSpPr/>
            <p:nvPr/>
          </p:nvSpPr>
          <p:spPr>
            <a:xfrm>
              <a:off x="599938" y="3058612"/>
              <a:ext cx="129075" cy="129850"/>
            </a:xfrm>
            <a:custGeom>
              <a:avLst/>
              <a:gdLst/>
              <a:ahLst/>
              <a:cxnLst/>
              <a:rect l="l" t="t" r="r" b="b"/>
              <a:pathLst>
                <a:path w="5163" h="5194" extrusionOk="0">
                  <a:moveTo>
                    <a:pt x="2566" y="0"/>
                  </a:moveTo>
                  <a:cubicBezTo>
                    <a:pt x="1141" y="0"/>
                    <a:pt x="1" y="1172"/>
                    <a:pt x="1" y="2597"/>
                  </a:cubicBezTo>
                  <a:cubicBezTo>
                    <a:pt x="1" y="4022"/>
                    <a:pt x="1141" y="5194"/>
                    <a:pt x="2566" y="5194"/>
                  </a:cubicBezTo>
                  <a:cubicBezTo>
                    <a:pt x="4023" y="5194"/>
                    <a:pt x="5163" y="4022"/>
                    <a:pt x="5163" y="2597"/>
                  </a:cubicBezTo>
                  <a:cubicBezTo>
                    <a:pt x="5163" y="1172"/>
                    <a:pt x="4023" y="0"/>
                    <a:pt x="2566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3" name="Google Shape;2593;p30"/>
            <p:cNvSpPr/>
            <p:nvPr/>
          </p:nvSpPr>
          <p:spPr>
            <a:xfrm>
              <a:off x="1340200" y="3029675"/>
              <a:ext cx="163900" cy="163900"/>
            </a:xfrm>
            <a:custGeom>
              <a:avLst/>
              <a:gdLst/>
              <a:ahLst/>
              <a:cxnLst/>
              <a:rect l="l" t="t" r="r" b="b"/>
              <a:pathLst>
                <a:path w="6556" h="6556" extrusionOk="0">
                  <a:moveTo>
                    <a:pt x="3294" y="0"/>
                  </a:moveTo>
                  <a:cubicBezTo>
                    <a:pt x="1489" y="0"/>
                    <a:pt x="0" y="1489"/>
                    <a:pt x="0" y="3294"/>
                  </a:cubicBezTo>
                  <a:cubicBezTo>
                    <a:pt x="0" y="5099"/>
                    <a:pt x="1489" y="6556"/>
                    <a:pt x="3294" y="6556"/>
                  </a:cubicBezTo>
                  <a:cubicBezTo>
                    <a:pt x="5099" y="6556"/>
                    <a:pt x="6556" y="5099"/>
                    <a:pt x="6556" y="3294"/>
                  </a:cubicBezTo>
                  <a:cubicBezTo>
                    <a:pt x="6556" y="1489"/>
                    <a:pt x="5099" y="0"/>
                    <a:pt x="3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4" name="Google Shape;2594;p30"/>
            <p:cNvSpPr/>
            <p:nvPr/>
          </p:nvSpPr>
          <p:spPr>
            <a:xfrm>
              <a:off x="1348900" y="3046700"/>
              <a:ext cx="146500" cy="130325"/>
            </a:xfrm>
            <a:custGeom>
              <a:avLst/>
              <a:gdLst/>
              <a:ahLst/>
              <a:cxnLst/>
              <a:rect l="l" t="t" r="r" b="b"/>
              <a:pathLst>
                <a:path w="5860" h="5213" extrusionOk="0">
                  <a:moveTo>
                    <a:pt x="2957" y="1"/>
                  </a:moveTo>
                  <a:cubicBezTo>
                    <a:pt x="2680" y="1"/>
                    <a:pt x="2399" y="47"/>
                    <a:pt x="2123" y="143"/>
                  </a:cubicBezTo>
                  <a:cubicBezTo>
                    <a:pt x="761" y="586"/>
                    <a:pt x="1" y="2043"/>
                    <a:pt x="476" y="3436"/>
                  </a:cubicBezTo>
                  <a:cubicBezTo>
                    <a:pt x="831" y="4528"/>
                    <a:pt x="1859" y="5213"/>
                    <a:pt x="2954" y="5213"/>
                  </a:cubicBezTo>
                  <a:cubicBezTo>
                    <a:pt x="3224" y="5213"/>
                    <a:pt x="3499" y="5171"/>
                    <a:pt x="3769" y="5083"/>
                  </a:cubicBezTo>
                  <a:cubicBezTo>
                    <a:pt x="5131" y="4640"/>
                    <a:pt x="5859" y="3151"/>
                    <a:pt x="5416" y="1790"/>
                  </a:cubicBezTo>
                  <a:cubicBezTo>
                    <a:pt x="5063" y="704"/>
                    <a:pt x="4045" y="1"/>
                    <a:pt x="2957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5" name="Google Shape;2595;p30"/>
            <p:cNvSpPr/>
            <p:nvPr/>
          </p:nvSpPr>
          <p:spPr>
            <a:xfrm>
              <a:off x="1352875" y="3070050"/>
              <a:ext cx="133025" cy="106950"/>
            </a:xfrm>
            <a:custGeom>
              <a:avLst/>
              <a:gdLst/>
              <a:ahLst/>
              <a:cxnLst/>
              <a:rect l="l" t="t" r="r" b="b"/>
              <a:pathLst>
                <a:path w="5321" h="4278" extrusionOk="0">
                  <a:moveTo>
                    <a:pt x="760" y="1"/>
                  </a:moveTo>
                  <a:cubicBezTo>
                    <a:pt x="190" y="729"/>
                    <a:pt x="0" y="1711"/>
                    <a:pt x="380" y="2629"/>
                  </a:cubicBezTo>
                  <a:cubicBezTo>
                    <a:pt x="789" y="3663"/>
                    <a:pt x="1745" y="4277"/>
                    <a:pt x="2778" y="4277"/>
                  </a:cubicBezTo>
                  <a:cubicBezTo>
                    <a:pt x="3106" y="4277"/>
                    <a:pt x="3441" y="4215"/>
                    <a:pt x="3769" y="4086"/>
                  </a:cubicBezTo>
                  <a:cubicBezTo>
                    <a:pt x="4560" y="3769"/>
                    <a:pt x="5130" y="3104"/>
                    <a:pt x="5320" y="2312"/>
                  </a:cubicBezTo>
                  <a:lnTo>
                    <a:pt x="5320" y="2312"/>
                  </a:lnTo>
                  <a:cubicBezTo>
                    <a:pt x="5035" y="2629"/>
                    <a:pt x="4687" y="2914"/>
                    <a:pt x="4275" y="3072"/>
                  </a:cubicBezTo>
                  <a:cubicBezTo>
                    <a:pt x="3954" y="3203"/>
                    <a:pt x="3622" y="3264"/>
                    <a:pt x="3295" y="3264"/>
                  </a:cubicBezTo>
                  <a:cubicBezTo>
                    <a:pt x="2268" y="3264"/>
                    <a:pt x="1295" y="2656"/>
                    <a:pt x="887" y="1647"/>
                  </a:cubicBezTo>
                  <a:cubicBezTo>
                    <a:pt x="665" y="1109"/>
                    <a:pt x="633" y="539"/>
                    <a:pt x="760" y="1"/>
                  </a:cubicBezTo>
                  <a:close/>
                </a:path>
              </a:pathLst>
            </a:custGeom>
            <a:solidFill>
              <a:srgbClr val="DD91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6" name="Google Shape;2596;p30"/>
            <p:cNvSpPr/>
            <p:nvPr/>
          </p:nvSpPr>
          <p:spPr>
            <a:xfrm>
              <a:off x="906325" y="1815975"/>
              <a:ext cx="1030075" cy="1183650"/>
            </a:xfrm>
            <a:custGeom>
              <a:avLst/>
              <a:gdLst/>
              <a:ahLst/>
              <a:cxnLst/>
              <a:rect l="l" t="t" r="r" b="b"/>
              <a:pathLst>
                <a:path w="41203" h="47346" extrusionOk="0">
                  <a:moveTo>
                    <a:pt x="20617" y="0"/>
                  </a:moveTo>
                  <a:cubicBezTo>
                    <a:pt x="9216" y="0"/>
                    <a:pt x="1" y="9216"/>
                    <a:pt x="1" y="20585"/>
                  </a:cubicBezTo>
                  <a:cubicBezTo>
                    <a:pt x="1" y="30687"/>
                    <a:pt x="7253" y="39079"/>
                    <a:pt x="16849" y="40853"/>
                  </a:cubicBezTo>
                  <a:lnTo>
                    <a:pt x="20617" y="47345"/>
                  </a:lnTo>
                  <a:lnTo>
                    <a:pt x="24354" y="40853"/>
                  </a:lnTo>
                  <a:cubicBezTo>
                    <a:pt x="33950" y="39079"/>
                    <a:pt x="41202" y="30687"/>
                    <a:pt x="41202" y="20585"/>
                  </a:cubicBezTo>
                  <a:cubicBezTo>
                    <a:pt x="41202" y="9216"/>
                    <a:pt x="31986" y="0"/>
                    <a:pt x="20617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7" name="Google Shape;2597;p30"/>
            <p:cNvSpPr/>
            <p:nvPr/>
          </p:nvSpPr>
          <p:spPr>
            <a:xfrm>
              <a:off x="1010850" y="1920475"/>
              <a:ext cx="821025" cy="821050"/>
            </a:xfrm>
            <a:custGeom>
              <a:avLst/>
              <a:gdLst/>
              <a:ahLst/>
              <a:cxnLst/>
              <a:rect l="l" t="t" r="r" b="b"/>
              <a:pathLst>
                <a:path w="32841" h="32842" extrusionOk="0">
                  <a:moveTo>
                    <a:pt x="16436" y="0"/>
                  </a:moveTo>
                  <a:cubicBezTo>
                    <a:pt x="7347" y="0"/>
                    <a:pt x="0" y="7348"/>
                    <a:pt x="0" y="16405"/>
                  </a:cubicBezTo>
                  <a:cubicBezTo>
                    <a:pt x="0" y="25462"/>
                    <a:pt x="7347" y="32841"/>
                    <a:pt x="16436" y="32841"/>
                  </a:cubicBezTo>
                  <a:cubicBezTo>
                    <a:pt x="25494" y="32841"/>
                    <a:pt x="32841" y="25462"/>
                    <a:pt x="32841" y="16405"/>
                  </a:cubicBezTo>
                  <a:cubicBezTo>
                    <a:pt x="32841" y="7348"/>
                    <a:pt x="25494" y="0"/>
                    <a:pt x="16436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8" name="Google Shape;2598;p30"/>
            <p:cNvSpPr/>
            <p:nvPr/>
          </p:nvSpPr>
          <p:spPr>
            <a:xfrm>
              <a:off x="3959225" y="1815975"/>
              <a:ext cx="1030075" cy="1183650"/>
            </a:xfrm>
            <a:custGeom>
              <a:avLst/>
              <a:gdLst/>
              <a:ahLst/>
              <a:cxnLst/>
              <a:rect l="l" t="t" r="r" b="b"/>
              <a:pathLst>
                <a:path w="41203" h="47346" extrusionOk="0">
                  <a:moveTo>
                    <a:pt x="20617" y="0"/>
                  </a:moveTo>
                  <a:cubicBezTo>
                    <a:pt x="9216" y="0"/>
                    <a:pt x="1" y="9216"/>
                    <a:pt x="1" y="20585"/>
                  </a:cubicBezTo>
                  <a:cubicBezTo>
                    <a:pt x="1" y="30687"/>
                    <a:pt x="7253" y="39079"/>
                    <a:pt x="16849" y="40853"/>
                  </a:cubicBezTo>
                  <a:lnTo>
                    <a:pt x="20617" y="47345"/>
                  </a:lnTo>
                  <a:lnTo>
                    <a:pt x="24354" y="40853"/>
                  </a:lnTo>
                  <a:cubicBezTo>
                    <a:pt x="33950" y="39079"/>
                    <a:pt x="41202" y="30687"/>
                    <a:pt x="41202" y="20585"/>
                  </a:cubicBezTo>
                  <a:cubicBezTo>
                    <a:pt x="41202" y="9216"/>
                    <a:pt x="31986" y="0"/>
                    <a:pt x="20617" y="0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2" name="Google Shape;2602;p30"/>
            <p:cNvSpPr/>
            <p:nvPr/>
          </p:nvSpPr>
          <p:spPr>
            <a:xfrm>
              <a:off x="2445288" y="3195125"/>
              <a:ext cx="1030850" cy="1184450"/>
            </a:xfrm>
            <a:custGeom>
              <a:avLst/>
              <a:gdLst/>
              <a:ahLst/>
              <a:cxnLst/>
              <a:rect l="l" t="t" r="r" b="b"/>
              <a:pathLst>
                <a:path w="41234" h="47378" extrusionOk="0">
                  <a:moveTo>
                    <a:pt x="20617" y="1"/>
                  </a:moveTo>
                  <a:lnTo>
                    <a:pt x="16848" y="6493"/>
                  </a:lnTo>
                  <a:cubicBezTo>
                    <a:pt x="7284" y="8266"/>
                    <a:pt x="0" y="16659"/>
                    <a:pt x="0" y="26761"/>
                  </a:cubicBezTo>
                  <a:cubicBezTo>
                    <a:pt x="0" y="38130"/>
                    <a:pt x="9248" y="47377"/>
                    <a:pt x="20617" y="47377"/>
                  </a:cubicBezTo>
                  <a:cubicBezTo>
                    <a:pt x="31986" y="47377"/>
                    <a:pt x="41233" y="38130"/>
                    <a:pt x="41233" y="26761"/>
                  </a:cubicBezTo>
                  <a:cubicBezTo>
                    <a:pt x="41233" y="16659"/>
                    <a:pt x="33950" y="8266"/>
                    <a:pt x="24354" y="6493"/>
                  </a:cubicBezTo>
                  <a:lnTo>
                    <a:pt x="20617" y="1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3" name="Google Shape;2603;p30"/>
            <p:cNvSpPr/>
            <p:nvPr/>
          </p:nvSpPr>
          <p:spPr>
            <a:xfrm>
              <a:off x="2544012" y="3421987"/>
              <a:ext cx="820250" cy="820250"/>
            </a:xfrm>
            <a:custGeom>
              <a:avLst/>
              <a:gdLst/>
              <a:ahLst/>
              <a:cxnLst/>
              <a:rect l="l" t="t" r="r" b="b"/>
              <a:pathLst>
                <a:path w="32810" h="32810" extrusionOk="0">
                  <a:moveTo>
                    <a:pt x="16405" y="1"/>
                  </a:moveTo>
                  <a:cubicBezTo>
                    <a:pt x="7348" y="1"/>
                    <a:pt x="0" y="7348"/>
                    <a:pt x="0" y="16405"/>
                  </a:cubicBezTo>
                  <a:cubicBezTo>
                    <a:pt x="0" y="25462"/>
                    <a:pt x="7348" y="32810"/>
                    <a:pt x="16405" y="32810"/>
                  </a:cubicBezTo>
                  <a:cubicBezTo>
                    <a:pt x="25462" y="32810"/>
                    <a:pt x="32809" y="25462"/>
                    <a:pt x="32809" y="16405"/>
                  </a:cubicBezTo>
                  <a:cubicBezTo>
                    <a:pt x="32809" y="7348"/>
                    <a:pt x="25462" y="1"/>
                    <a:pt x="1640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4" name="Google Shape;2604;p30"/>
            <p:cNvSpPr/>
            <p:nvPr/>
          </p:nvSpPr>
          <p:spPr>
            <a:xfrm>
              <a:off x="1386125" y="3263225"/>
              <a:ext cx="57800" cy="58625"/>
            </a:xfrm>
            <a:custGeom>
              <a:avLst/>
              <a:gdLst/>
              <a:ahLst/>
              <a:cxnLst/>
              <a:rect l="l" t="t" r="r" b="b"/>
              <a:pathLst>
                <a:path w="2312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3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5" y="2344"/>
                    <a:pt x="2312" y="1806"/>
                    <a:pt x="2312" y="1173"/>
                  </a:cubicBezTo>
                  <a:cubicBezTo>
                    <a:pt x="2312" y="539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5" name="Google Shape;2605;p30"/>
            <p:cNvSpPr/>
            <p:nvPr/>
          </p:nvSpPr>
          <p:spPr>
            <a:xfrm>
              <a:off x="1386125" y="3393075"/>
              <a:ext cx="57800" cy="57825"/>
            </a:xfrm>
            <a:custGeom>
              <a:avLst/>
              <a:gdLst/>
              <a:ahLst/>
              <a:cxnLst/>
              <a:rect l="l" t="t" r="r" b="b"/>
              <a:pathLst>
                <a:path w="2312" h="2313" extrusionOk="0">
                  <a:moveTo>
                    <a:pt x="1172" y="1"/>
                  </a:moveTo>
                  <a:cubicBezTo>
                    <a:pt x="507" y="1"/>
                    <a:pt x="0" y="507"/>
                    <a:pt x="0" y="1172"/>
                  </a:cubicBezTo>
                  <a:cubicBezTo>
                    <a:pt x="0" y="1806"/>
                    <a:pt x="507" y="2312"/>
                    <a:pt x="1172" y="2312"/>
                  </a:cubicBezTo>
                  <a:cubicBezTo>
                    <a:pt x="1805" y="2312"/>
                    <a:pt x="2312" y="1806"/>
                    <a:pt x="2312" y="1172"/>
                  </a:cubicBezTo>
                  <a:cubicBezTo>
                    <a:pt x="2312" y="507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6" name="Google Shape;2606;p30"/>
            <p:cNvSpPr/>
            <p:nvPr/>
          </p:nvSpPr>
          <p:spPr>
            <a:xfrm>
              <a:off x="1386125" y="3522125"/>
              <a:ext cx="57800" cy="58625"/>
            </a:xfrm>
            <a:custGeom>
              <a:avLst/>
              <a:gdLst/>
              <a:ahLst/>
              <a:cxnLst/>
              <a:rect l="l" t="t" r="r" b="b"/>
              <a:pathLst>
                <a:path w="2312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5" y="2344"/>
                    <a:pt x="2312" y="1806"/>
                    <a:pt x="2312" y="1172"/>
                  </a:cubicBezTo>
                  <a:cubicBezTo>
                    <a:pt x="2312" y="539"/>
                    <a:pt x="1805" y="1"/>
                    <a:pt x="1172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7" name="Google Shape;2607;p30"/>
            <p:cNvSpPr/>
            <p:nvPr/>
          </p:nvSpPr>
          <p:spPr>
            <a:xfrm>
              <a:off x="1386125" y="3651975"/>
              <a:ext cx="57800" cy="57825"/>
            </a:xfrm>
            <a:custGeom>
              <a:avLst/>
              <a:gdLst/>
              <a:ahLst/>
              <a:cxnLst/>
              <a:rect l="l" t="t" r="r" b="b"/>
              <a:pathLst>
                <a:path w="2312" h="2313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5"/>
                    <a:pt x="507" y="2312"/>
                    <a:pt x="1172" y="2312"/>
                  </a:cubicBezTo>
                  <a:cubicBezTo>
                    <a:pt x="1805" y="2312"/>
                    <a:pt x="2312" y="1805"/>
                    <a:pt x="2312" y="1172"/>
                  </a:cubicBezTo>
                  <a:cubicBezTo>
                    <a:pt x="2312" y="507"/>
                    <a:pt x="1805" y="0"/>
                    <a:pt x="1172" y="0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8" name="Google Shape;2608;p30"/>
            <p:cNvSpPr/>
            <p:nvPr/>
          </p:nvSpPr>
          <p:spPr>
            <a:xfrm>
              <a:off x="1366325" y="2055850"/>
              <a:ext cx="101375" cy="100575"/>
            </a:xfrm>
            <a:custGeom>
              <a:avLst/>
              <a:gdLst/>
              <a:ahLst/>
              <a:cxnLst/>
              <a:rect l="l" t="t" r="r" b="b"/>
              <a:pathLst>
                <a:path w="4055" h="4023" extrusionOk="0">
                  <a:moveTo>
                    <a:pt x="0" y="1"/>
                  </a:moveTo>
                  <a:lnTo>
                    <a:pt x="0" y="4023"/>
                  </a:lnTo>
                  <a:lnTo>
                    <a:pt x="4054" y="4023"/>
                  </a:lnTo>
                  <a:lnTo>
                    <a:pt x="4054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9" name="Google Shape;2609;p30"/>
            <p:cNvSpPr/>
            <p:nvPr/>
          </p:nvSpPr>
          <p:spPr>
            <a:xfrm>
              <a:off x="1157300" y="2091475"/>
              <a:ext cx="518625" cy="517825"/>
            </a:xfrm>
            <a:custGeom>
              <a:avLst/>
              <a:gdLst/>
              <a:ahLst/>
              <a:cxnLst/>
              <a:rect l="l" t="t" r="r" b="b"/>
              <a:pathLst>
                <a:path w="20745" h="20713" extrusionOk="0">
                  <a:moveTo>
                    <a:pt x="10388" y="1363"/>
                  </a:moveTo>
                  <a:cubicBezTo>
                    <a:pt x="15329" y="1363"/>
                    <a:pt x="19382" y="5385"/>
                    <a:pt x="19382" y="10357"/>
                  </a:cubicBezTo>
                  <a:cubicBezTo>
                    <a:pt x="19382" y="15329"/>
                    <a:pt x="15329" y="19351"/>
                    <a:pt x="10388" y="19351"/>
                  </a:cubicBezTo>
                  <a:cubicBezTo>
                    <a:pt x="5416" y="19351"/>
                    <a:pt x="1363" y="15329"/>
                    <a:pt x="1363" y="10357"/>
                  </a:cubicBezTo>
                  <a:cubicBezTo>
                    <a:pt x="1363" y="5385"/>
                    <a:pt x="5416" y="1363"/>
                    <a:pt x="10388" y="1363"/>
                  </a:cubicBezTo>
                  <a:close/>
                  <a:moveTo>
                    <a:pt x="10388" y="1"/>
                  </a:moveTo>
                  <a:cubicBezTo>
                    <a:pt x="4656" y="1"/>
                    <a:pt x="1" y="4625"/>
                    <a:pt x="1" y="10357"/>
                  </a:cubicBezTo>
                  <a:cubicBezTo>
                    <a:pt x="1" y="16089"/>
                    <a:pt x="4656" y="20712"/>
                    <a:pt x="10388" y="20712"/>
                  </a:cubicBezTo>
                  <a:cubicBezTo>
                    <a:pt x="16089" y="20712"/>
                    <a:pt x="20744" y="16089"/>
                    <a:pt x="20744" y="10357"/>
                  </a:cubicBezTo>
                  <a:cubicBezTo>
                    <a:pt x="20744" y="4625"/>
                    <a:pt x="16089" y="1"/>
                    <a:pt x="10388" y="1"/>
                  </a:cubicBez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0" name="Google Shape;2610;p30"/>
            <p:cNvSpPr/>
            <p:nvPr/>
          </p:nvSpPr>
          <p:spPr>
            <a:xfrm>
              <a:off x="1150175" y="2083575"/>
              <a:ext cx="532875" cy="532850"/>
            </a:xfrm>
            <a:custGeom>
              <a:avLst/>
              <a:gdLst/>
              <a:ahLst/>
              <a:cxnLst/>
              <a:rect l="l" t="t" r="r" b="b"/>
              <a:pathLst>
                <a:path w="21315" h="21314" extrusionOk="0">
                  <a:moveTo>
                    <a:pt x="12890" y="1235"/>
                  </a:moveTo>
                  <a:cubicBezTo>
                    <a:pt x="18084" y="2470"/>
                    <a:pt x="21314" y="7696"/>
                    <a:pt x="20079" y="12921"/>
                  </a:cubicBezTo>
                  <a:cubicBezTo>
                    <a:pt x="18844" y="18115"/>
                    <a:pt x="13618" y="21313"/>
                    <a:pt x="8425" y="20078"/>
                  </a:cubicBezTo>
                  <a:cubicBezTo>
                    <a:pt x="3199" y="18843"/>
                    <a:pt x="1" y="13618"/>
                    <a:pt x="1236" y="8424"/>
                  </a:cubicBezTo>
                  <a:cubicBezTo>
                    <a:pt x="2471" y="3230"/>
                    <a:pt x="7696" y="0"/>
                    <a:pt x="12890" y="1235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1" name="Google Shape;2611;p30"/>
            <p:cNvSpPr/>
            <p:nvPr/>
          </p:nvSpPr>
          <p:spPr>
            <a:xfrm>
              <a:off x="1191350" y="2124725"/>
              <a:ext cx="451300" cy="451325"/>
            </a:xfrm>
            <a:custGeom>
              <a:avLst/>
              <a:gdLst/>
              <a:ahLst/>
              <a:cxnLst/>
              <a:rect l="l" t="t" r="r" b="b"/>
              <a:pathLst>
                <a:path w="18052" h="18053" extrusionOk="0">
                  <a:moveTo>
                    <a:pt x="9026" y="1"/>
                  </a:moveTo>
                  <a:cubicBezTo>
                    <a:pt x="4023" y="1"/>
                    <a:pt x="1" y="4055"/>
                    <a:pt x="1" y="9027"/>
                  </a:cubicBezTo>
                  <a:cubicBezTo>
                    <a:pt x="1" y="13999"/>
                    <a:pt x="4023" y="18052"/>
                    <a:pt x="9026" y="18052"/>
                  </a:cubicBezTo>
                  <a:cubicBezTo>
                    <a:pt x="13998" y="18052"/>
                    <a:pt x="18052" y="13999"/>
                    <a:pt x="18052" y="9027"/>
                  </a:cubicBezTo>
                  <a:cubicBezTo>
                    <a:pt x="18052" y="4055"/>
                    <a:pt x="13998" y="1"/>
                    <a:pt x="902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2" name="Google Shape;2612;p30"/>
            <p:cNvSpPr/>
            <p:nvPr/>
          </p:nvSpPr>
          <p:spPr>
            <a:xfrm>
              <a:off x="1191350" y="2124725"/>
              <a:ext cx="451300" cy="451325"/>
            </a:xfrm>
            <a:custGeom>
              <a:avLst/>
              <a:gdLst/>
              <a:ahLst/>
              <a:cxnLst/>
              <a:rect l="l" t="t" r="r" b="b"/>
              <a:pathLst>
                <a:path w="18052" h="18053" extrusionOk="0">
                  <a:moveTo>
                    <a:pt x="9026" y="888"/>
                  </a:moveTo>
                  <a:cubicBezTo>
                    <a:pt x="13492" y="888"/>
                    <a:pt x="17165" y="4530"/>
                    <a:pt x="17165" y="9027"/>
                  </a:cubicBezTo>
                  <a:cubicBezTo>
                    <a:pt x="17165" y="13524"/>
                    <a:pt x="13492" y="17165"/>
                    <a:pt x="9026" y="17165"/>
                  </a:cubicBezTo>
                  <a:cubicBezTo>
                    <a:pt x="4529" y="17165"/>
                    <a:pt x="856" y="13524"/>
                    <a:pt x="856" y="9027"/>
                  </a:cubicBezTo>
                  <a:cubicBezTo>
                    <a:pt x="856" y="4530"/>
                    <a:pt x="4529" y="888"/>
                    <a:pt x="9026" y="888"/>
                  </a:cubicBezTo>
                  <a:close/>
                  <a:moveTo>
                    <a:pt x="9026" y="1"/>
                  </a:moveTo>
                  <a:cubicBezTo>
                    <a:pt x="4023" y="1"/>
                    <a:pt x="1" y="4055"/>
                    <a:pt x="1" y="9027"/>
                  </a:cubicBezTo>
                  <a:cubicBezTo>
                    <a:pt x="1" y="13999"/>
                    <a:pt x="4023" y="18052"/>
                    <a:pt x="9026" y="18052"/>
                  </a:cubicBezTo>
                  <a:cubicBezTo>
                    <a:pt x="13998" y="18052"/>
                    <a:pt x="18052" y="13999"/>
                    <a:pt x="18052" y="9027"/>
                  </a:cubicBezTo>
                  <a:cubicBezTo>
                    <a:pt x="18020" y="4055"/>
                    <a:pt x="13998" y="1"/>
                    <a:pt x="9026" y="1"/>
                  </a:cubicBez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3" name="Google Shape;2613;p30"/>
            <p:cNvSpPr/>
            <p:nvPr/>
          </p:nvSpPr>
          <p:spPr>
            <a:xfrm>
              <a:off x="1413825" y="2153250"/>
              <a:ext cx="5575" cy="30100"/>
            </a:xfrm>
            <a:custGeom>
              <a:avLst/>
              <a:gdLst/>
              <a:ahLst/>
              <a:cxnLst/>
              <a:rect l="l" t="t" r="r" b="b"/>
              <a:pathLst>
                <a:path w="223" h="1204" extrusionOk="0">
                  <a:moveTo>
                    <a:pt x="127" y="0"/>
                  </a:moveTo>
                  <a:cubicBezTo>
                    <a:pt x="64" y="0"/>
                    <a:pt x="1" y="32"/>
                    <a:pt x="1" y="95"/>
                  </a:cubicBezTo>
                  <a:lnTo>
                    <a:pt x="1" y="1108"/>
                  </a:lnTo>
                  <a:cubicBezTo>
                    <a:pt x="1" y="1172"/>
                    <a:pt x="64" y="1203"/>
                    <a:pt x="127" y="1203"/>
                  </a:cubicBezTo>
                  <a:cubicBezTo>
                    <a:pt x="159" y="1203"/>
                    <a:pt x="222" y="1172"/>
                    <a:pt x="222" y="1108"/>
                  </a:cubicBezTo>
                  <a:lnTo>
                    <a:pt x="222" y="95"/>
                  </a:lnTo>
                  <a:cubicBezTo>
                    <a:pt x="222" y="32"/>
                    <a:pt x="159" y="0"/>
                    <a:pt x="127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4" name="Google Shape;2614;p30"/>
            <p:cNvSpPr/>
            <p:nvPr/>
          </p:nvSpPr>
          <p:spPr>
            <a:xfrm>
              <a:off x="1413825" y="2517425"/>
              <a:ext cx="5575" cy="30900"/>
            </a:xfrm>
            <a:custGeom>
              <a:avLst/>
              <a:gdLst/>
              <a:ahLst/>
              <a:cxnLst/>
              <a:rect l="l" t="t" r="r" b="b"/>
              <a:pathLst>
                <a:path w="223" h="1236" extrusionOk="0">
                  <a:moveTo>
                    <a:pt x="127" y="1"/>
                  </a:moveTo>
                  <a:cubicBezTo>
                    <a:pt x="64" y="1"/>
                    <a:pt x="1" y="32"/>
                    <a:pt x="1" y="96"/>
                  </a:cubicBezTo>
                  <a:lnTo>
                    <a:pt x="1" y="1109"/>
                  </a:lnTo>
                  <a:cubicBezTo>
                    <a:pt x="1" y="1172"/>
                    <a:pt x="64" y="1236"/>
                    <a:pt x="127" y="1236"/>
                  </a:cubicBezTo>
                  <a:cubicBezTo>
                    <a:pt x="159" y="1236"/>
                    <a:pt x="222" y="1172"/>
                    <a:pt x="222" y="1109"/>
                  </a:cubicBezTo>
                  <a:lnTo>
                    <a:pt x="222" y="96"/>
                  </a:lnTo>
                  <a:cubicBezTo>
                    <a:pt x="222" y="32"/>
                    <a:pt x="159" y="1"/>
                    <a:pt x="127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5" name="Google Shape;2615;p30"/>
            <p:cNvSpPr/>
            <p:nvPr/>
          </p:nvSpPr>
          <p:spPr>
            <a:xfrm>
              <a:off x="1583250" y="2348000"/>
              <a:ext cx="30900" cy="5575"/>
            </a:xfrm>
            <a:custGeom>
              <a:avLst/>
              <a:gdLst/>
              <a:ahLst/>
              <a:cxnLst/>
              <a:rect l="l" t="t" r="r" b="b"/>
              <a:pathLst>
                <a:path w="1236" h="223" extrusionOk="0">
                  <a:moveTo>
                    <a:pt x="127" y="1"/>
                  </a:moveTo>
                  <a:cubicBezTo>
                    <a:pt x="64" y="1"/>
                    <a:pt x="1" y="32"/>
                    <a:pt x="1" y="96"/>
                  </a:cubicBezTo>
                  <a:cubicBezTo>
                    <a:pt x="1" y="159"/>
                    <a:pt x="64" y="222"/>
                    <a:pt x="127" y="222"/>
                  </a:cubicBezTo>
                  <a:lnTo>
                    <a:pt x="1141" y="222"/>
                  </a:lnTo>
                  <a:cubicBezTo>
                    <a:pt x="1173" y="222"/>
                    <a:pt x="1236" y="159"/>
                    <a:pt x="1236" y="96"/>
                  </a:cubicBezTo>
                  <a:cubicBezTo>
                    <a:pt x="1236" y="32"/>
                    <a:pt x="1173" y="1"/>
                    <a:pt x="114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6" name="Google Shape;2616;p30"/>
            <p:cNvSpPr/>
            <p:nvPr/>
          </p:nvSpPr>
          <p:spPr>
            <a:xfrm>
              <a:off x="1219050" y="2348000"/>
              <a:ext cx="30925" cy="5575"/>
            </a:xfrm>
            <a:custGeom>
              <a:avLst/>
              <a:gdLst/>
              <a:ahLst/>
              <a:cxnLst/>
              <a:rect l="l" t="t" r="r" b="b"/>
              <a:pathLst>
                <a:path w="1237" h="223" extrusionOk="0">
                  <a:moveTo>
                    <a:pt x="128" y="1"/>
                  </a:moveTo>
                  <a:cubicBezTo>
                    <a:pt x="64" y="1"/>
                    <a:pt x="1" y="32"/>
                    <a:pt x="1" y="96"/>
                  </a:cubicBezTo>
                  <a:cubicBezTo>
                    <a:pt x="1" y="159"/>
                    <a:pt x="64" y="222"/>
                    <a:pt x="128" y="222"/>
                  </a:cubicBezTo>
                  <a:lnTo>
                    <a:pt x="1109" y="222"/>
                  </a:lnTo>
                  <a:cubicBezTo>
                    <a:pt x="1173" y="222"/>
                    <a:pt x="1236" y="159"/>
                    <a:pt x="1236" y="96"/>
                  </a:cubicBezTo>
                  <a:cubicBezTo>
                    <a:pt x="1236" y="32"/>
                    <a:pt x="1173" y="1"/>
                    <a:pt x="1109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7" name="Google Shape;2617;p30"/>
            <p:cNvSpPr/>
            <p:nvPr/>
          </p:nvSpPr>
          <p:spPr>
            <a:xfrm>
              <a:off x="1534950" y="2212025"/>
              <a:ext cx="24575" cy="23175"/>
            </a:xfrm>
            <a:custGeom>
              <a:avLst/>
              <a:gdLst/>
              <a:ahLst/>
              <a:cxnLst/>
              <a:rect l="l" t="t" r="r" b="b"/>
              <a:pathLst>
                <a:path w="983" h="927" extrusionOk="0">
                  <a:moveTo>
                    <a:pt x="856" y="0"/>
                  </a:moveTo>
                  <a:cubicBezTo>
                    <a:pt x="832" y="0"/>
                    <a:pt x="808" y="8"/>
                    <a:pt x="793" y="24"/>
                  </a:cubicBezTo>
                  <a:lnTo>
                    <a:pt x="64" y="721"/>
                  </a:lnTo>
                  <a:cubicBezTo>
                    <a:pt x="33" y="784"/>
                    <a:pt x="1" y="848"/>
                    <a:pt x="64" y="879"/>
                  </a:cubicBezTo>
                  <a:cubicBezTo>
                    <a:pt x="80" y="911"/>
                    <a:pt x="104" y="927"/>
                    <a:pt x="132" y="927"/>
                  </a:cubicBezTo>
                  <a:cubicBezTo>
                    <a:pt x="159" y="927"/>
                    <a:pt x="191" y="911"/>
                    <a:pt x="223" y="879"/>
                  </a:cubicBezTo>
                  <a:lnTo>
                    <a:pt x="919" y="183"/>
                  </a:lnTo>
                  <a:cubicBezTo>
                    <a:pt x="983" y="151"/>
                    <a:pt x="983" y="88"/>
                    <a:pt x="919" y="24"/>
                  </a:cubicBezTo>
                  <a:cubicBezTo>
                    <a:pt x="904" y="8"/>
                    <a:pt x="880" y="0"/>
                    <a:pt x="856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8" name="Google Shape;2618;p30"/>
            <p:cNvSpPr/>
            <p:nvPr/>
          </p:nvSpPr>
          <p:spPr>
            <a:xfrm>
              <a:off x="1273700" y="2465850"/>
              <a:ext cx="24550" cy="22900"/>
            </a:xfrm>
            <a:custGeom>
              <a:avLst/>
              <a:gdLst/>
              <a:ahLst/>
              <a:cxnLst/>
              <a:rect l="l" t="t" r="r" b="b"/>
              <a:pathLst>
                <a:path w="982" h="916" extrusionOk="0">
                  <a:moveTo>
                    <a:pt x="838" y="0"/>
                  </a:moveTo>
                  <a:cubicBezTo>
                    <a:pt x="814" y="0"/>
                    <a:pt x="787" y="10"/>
                    <a:pt x="760" y="37"/>
                  </a:cubicBezTo>
                  <a:lnTo>
                    <a:pt x="63" y="734"/>
                  </a:lnTo>
                  <a:cubicBezTo>
                    <a:pt x="0" y="765"/>
                    <a:pt x="0" y="829"/>
                    <a:pt x="32" y="892"/>
                  </a:cubicBezTo>
                  <a:cubicBezTo>
                    <a:pt x="63" y="908"/>
                    <a:pt x="95" y="916"/>
                    <a:pt x="123" y="916"/>
                  </a:cubicBezTo>
                  <a:cubicBezTo>
                    <a:pt x="151" y="916"/>
                    <a:pt x="174" y="908"/>
                    <a:pt x="190" y="892"/>
                  </a:cubicBezTo>
                  <a:lnTo>
                    <a:pt x="919" y="195"/>
                  </a:lnTo>
                  <a:cubicBezTo>
                    <a:pt x="950" y="132"/>
                    <a:pt x="982" y="69"/>
                    <a:pt x="919" y="37"/>
                  </a:cubicBezTo>
                  <a:cubicBezTo>
                    <a:pt x="900" y="19"/>
                    <a:pt x="871" y="0"/>
                    <a:pt x="838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19" name="Google Shape;2619;p30"/>
            <p:cNvSpPr/>
            <p:nvPr/>
          </p:nvSpPr>
          <p:spPr>
            <a:xfrm>
              <a:off x="1531800" y="2469325"/>
              <a:ext cx="23775" cy="23400"/>
            </a:xfrm>
            <a:custGeom>
              <a:avLst/>
              <a:gdLst/>
              <a:ahLst/>
              <a:cxnLst/>
              <a:rect l="l" t="t" r="r" b="b"/>
              <a:pathLst>
                <a:path w="951" h="936" extrusionOk="0">
                  <a:moveTo>
                    <a:pt x="123" y="1"/>
                  </a:moveTo>
                  <a:cubicBezTo>
                    <a:pt x="95" y="1"/>
                    <a:pt x="64" y="9"/>
                    <a:pt x="32" y="25"/>
                  </a:cubicBezTo>
                  <a:cubicBezTo>
                    <a:pt x="0" y="88"/>
                    <a:pt x="0" y="151"/>
                    <a:pt x="32" y="183"/>
                  </a:cubicBezTo>
                  <a:lnTo>
                    <a:pt x="729" y="911"/>
                  </a:lnTo>
                  <a:cubicBezTo>
                    <a:pt x="760" y="927"/>
                    <a:pt x="792" y="935"/>
                    <a:pt x="820" y="935"/>
                  </a:cubicBezTo>
                  <a:cubicBezTo>
                    <a:pt x="847" y="935"/>
                    <a:pt x="871" y="927"/>
                    <a:pt x="887" y="911"/>
                  </a:cubicBezTo>
                  <a:cubicBezTo>
                    <a:pt x="919" y="880"/>
                    <a:pt x="950" y="816"/>
                    <a:pt x="887" y="753"/>
                  </a:cubicBezTo>
                  <a:lnTo>
                    <a:pt x="190" y="25"/>
                  </a:lnTo>
                  <a:cubicBezTo>
                    <a:pt x="174" y="9"/>
                    <a:pt x="151" y="1"/>
                    <a:pt x="12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0" name="Google Shape;2620;p30"/>
            <p:cNvSpPr/>
            <p:nvPr/>
          </p:nvSpPr>
          <p:spPr>
            <a:xfrm>
              <a:off x="1277650" y="2208075"/>
              <a:ext cx="23775" cy="23375"/>
            </a:xfrm>
            <a:custGeom>
              <a:avLst/>
              <a:gdLst/>
              <a:ahLst/>
              <a:cxnLst/>
              <a:rect l="l" t="t" r="r" b="b"/>
              <a:pathLst>
                <a:path w="951" h="935" extrusionOk="0">
                  <a:moveTo>
                    <a:pt x="131" y="0"/>
                  </a:moveTo>
                  <a:cubicBezTo>
                    <a:pt x="103" y="0"/>
                    <a:pt x="80" y="8"/>
                    <a:pt x="64" y="24"/>
                  </a:cubicBezTo>
                  <a:cubicBezTo>
                    <a:pt x="0" y="56"/>
                    <a:pt x="0" y="151"/>
                    <a:pt x="64" y="182"/>
                  </a:cubicBezTo>
                  <a:lnTo>
                    <a:pt x="761" y="911"/>
                  </a:lnTo>
                  <a:cubicBezTo>
                    <a:pt x="776" y="926"/>
                    <a:pt x="800" y="934"/>
                    <a:pt x="828" y="934"/>
                  </a:cubicBezTo>
                  <a:cubicBezTo>
                    <a:pt x="856" y="934"/>
                    <a:pt x="887" y="926"/>
                    <a:pt x="919" y="911"/>
                  </a:cubicBezTo>
                  <a:cubicBezTo>
                    <a:pt x="951" y="847"/>
                    <a:pt x="951" y="784"/>
                    <a:pt x="919" y="752"/>
                  </a:cubicBezTo>
                  <a:lnTo>
                    <a:pt x="222" y="24"/>
                  </a:lnTo>
                  <a:cubicBezTo>
                    <a:pt x="191" y="8"/>
                    <a:pt x="159" y="0"/>
                    <a:pt x="131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1" name="Google Shape;2621;p30"/>
            <p:cNvSpPr/>
            <p:nvPr/>
          </p:nvSpPr>
          <p:spPr>
            <a:xfrm>
              <a:off x="1569800" y="2272475"/>
              <a:ext cx="29325" cy="14900"/>
            </a:xfrm>
            <a:custGeom>
              <a:avLst/>
              <a:gdLst/>
              <a:ahLst/>
              <a:cxnLst/>
              <a:rect l="l" t="t" r="r" b="b"/>
              <a:pathLst>
                <a:path w="1173" h="596" extrusionOk="0">
                  <a:moveTo>
                    <a:pt x="1063" y="1"/>
                  </a:moveTo>
                  <a:cubicBezTo>
                    <a:pt x="1048" y="1"/>
                    <a:pt x="1031" y="5"/>
                    <a:pt x="1014" y="13"/>
                  </a:cubicBezTo>
                  <a:lnTo>
                    <a:pt x="95" y="393"/>
                  </a:lnTo>
                  <a:cubicBezTo>
                    <a:pt x="32" y="425"/>
                    <a:pt x="0" y="488"/>
                    <a:pt x="32" y="520"/>
                  </a:cubicBezTo>
                  <a:cubicBezTo>
                    <a:pt x="55" y="566"/>
                    <a:pt x="95" y="595"/>
                    <a:pt x="128" y="595"/>
                  </a:cubicBezTo>
                  <a:cubicBezTo>
                    <a:pt x="139" y="595"/>
                    <a:pt x="150" y="592"/>
                    <a:pt x="159" y="583"/>
                  </a:cubicBezTo>
                  <a:lnTo>
                    <a:pt x="1109" y="203"/>
                  </a:lnTo>
                  <a:cubicBezTo>
                    <a:pt x="1140" y="171"/>
                    <a:pt x="1172" y="108"/>
                    <a:pt x="1140" y="76"/>
                  </a:cubicBezTo>
                  <a:cubicBezTo>
                    <a:pt x="1140" y="30"/>
                    <a:pt x="1107" y="1"/>
                    <a:pt x="106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2" name="Google Shape;2622;p30"/>
            <p:cNvSpPr/>
            <p:nvPr/>
          </p:nvSpPr>
          <p:spPr>
            <a:xfrm>
              <a:off x="1234100" y="2413400"/>
              <a:ext cx="29325" cy="15375"/>
            </a:xfrm>
            <a:custGeom>
              <a:avLst/>
              <a:gdLst/>
              <a:ahLst/>
              <a:cxnLst/>
              <a:rect l="l" t="t" r="r" b="b"/>
              <a:pathLst>
                <a:path w="1173" h="615" extrusionOk="0">
                  <a:moveTo>
                    <a:pt x="1045" y="1"/>
                  </a:moveTo>
                  <a:cubicBezTo>
                    <a:pt x="1033" y="1"/>
                    <a:pt x="1023" y="5"/>
                    <a:pt x="1014" y="13"/>
                  </a:cubicBezTo>
                  <a:lnTo>
                    <a:pt x="64" y="393"/>
                  </a:lnTo>
                  <a:cubicBezTo>
                    <a:pt x="32" y="425"/>
                    <a:pt x="1" y="488"/>
                    <a:pt x="32" y="551"/>
                  </a:cubicBezTo>
                  <a:cubicBezTo>
                    <a:pt x="32" y="583"/>
                    <a:pt x="96" y="615"/>
                    <a:pt x="159" y="615"/>
                  </a:cubicBezTo>
                  <a:lnTo>
                    <a:pt x="1077" y="203"/>
                  </a:lnTo>
                  <a:cubicBezTo>
                    <a:pt x="1141" y="203"/>
                    <a:pt x="1172" y="108"/>
                    <a:pt x="1141" y="76"/>
                  </a:cubicBezTo>
                  <a:cubicBezTo>
                    <a:pt x="1118" y="30"/>
                    <a:pt x="1077" y="1"/>
                    <a:pt x="104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3" name="Google Shape;2623;p30"/>
            <p:cNvSpPr/>
            <p:nvPr/>
          </p:nvSpPr>
          <p:spPr>
            <a:xfrm>
              <a:off x="1479550" y="2503975"/>
              <a:ext cx="15850" cy="28825"/>
            </a:xfrm>
            <a:custGeom>
              <a:avLst/>
              <a:gdLst/>
              <a:ahLst/>
              <a:cxnLst/>
              <a:rect l="l" t="t" r="r" b="b"/>
              <a:pathLst>
                <a:path w="634" h="1153" extrusionOk="0">
                  <a:moveTo>
                    <a:pt x="63" y="0"/>
                  </a:moveTo>
                  <a:cubicBezTo>
                    <a:pt x="0" y="32"/>
                    <a:pt x="0" y="95"/>
                    <a:pt x="0" y="159"/>
                  </a:cubicBezTo>
                  <a:lnTo>
                    <a:pt x="412" y="1077"/>
                  </a:lnTo>
                  <a:cubicBezTo>
                    <a:pt x="412" y="1123"/>
                    <a:pt x="446" y="1153"/>
                    <a:pt x="489" y="1153"/>
                  </a:cubicBezTo>
                  <a:cubicBezTo>
                    <a:pt x="505" y="1153"/>
                    <a:pt x="522" y="1149"/>
                    <a:pt x="538" y="1140"/>
                  </a:cubicBezTo>
                  <a:cubicBezTo>
                    <a:pt x="602" y="1109"/>
                    <a:pt x="633" y="1045"/>
                    <a:pt x="602" y="1014"/>
                  </a:cubicBezTo>
                  <a:lnTo>
                    <a:pt x="222" y="64"/>
                  </a:lnTo>
                  <a:cubicBezTo>
                    <a:pt x="190" y="32"/>
                    <a:pt x="127" y="0"/>
                    <a:pt x="6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4" name="Google Shape;2624;p30"/>
            <p:cNvSpPr/>
            <p:nvPr/>
          </p:nvSpPr>
          <p:spPr>
            <a:xfrm>
              <a:off x="1337825" y="2167975"/>
              <a:ext cx="15850" cy="28825"/>
            </a:xfrm>
            <a:custGeom>
              <a:avLst/>
              <a:gdLst/>
              <a:ahLst/>
              <a:cxnLst/>
              <a:rect l="l" t="t" r="r" b="b"/>
              <a:pathLst>
                <a:path w="634" h="1153" extrusionOk="0">
                  <a:moveTo>
                    <a:pt x="145" y="0"/>
                  </a:moveTo>
                  <a:cubicBezTo>
                    <a:pt x="129" y="0"/>
                    <a:pt x="112" y="4"/>
                    <a:pt x="95" y="13"/>
                  </a:cubicBezTo>
                  <a:cubicBezTo>
                    <a:pt x="32" y="44"/>
                    <a:pt x="0" y="108"/>
                    <a:pt x="32" y="171"/>
                  </a:cubicBezTo>
                  <a:lnTo>
                    <a:pt x="412" y="1089"/>
                  </a:lnTo>
                  <a:cubicBezTo>
                    <a:pt x="444" y="1153"/>
                    <a:pt x="507" y="1153"/>
                    <a:pt x="570" y="1153"/>
                  </a:cubicBezTo>
                  <a:cubicBezTo>
                    <a:pt x="634" y="1121"/>
                    <a:pt x="634" y="1058"/>
                    <a:pt x="634" y="994"/>
                  </a:cubicBezTo>
                  <a:lnTo>
                    <a:pt x="222" y="76"/>
                  </a:lnTo>
                  <a:cubicBezTo>
                    <a:pt x="222" y="30"/>
                    <a:pt x="188" y="0"/>
                    <a:pt x="145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5" name="Google Shape;2625;p30"/>
            <p:cNvSpPr/>
            <p:nvPr/>
          </p:nvSpPr>
          <p:spPr>
            <a:xfrm>
              <a:off x="1569000" y="2415000"/>
              <a:ext cx="29325" cy="15675"/>
            </a:xfrm>
            <a:custGeom>
              <a:avLst/>
              <a:gdLst/>
              <a:ahLst/>
              <a:cxnLst/>
              <a:rect l="l" t="t" r="r" b="b"/>
              <a:pathLst>
                <a:path w="1173" h="627" extrusionOk="0">
                  <a:moveTo>
                    <a:pt x="140" y="0"/>
                  </a:moveTo>
                  <a:cubicBezTo>
                    <a:pt x="96" y="0"/>
                    <a:pt x="56" y="29"/>
                    <a:pt x="32" y="76"/>
                  </a:cubicBezTo>
                  <a:cubicBezTo>
                    <a:pt x="1" y="139"/>
                    <a:pt x="32" y="202"/>
                    <a:pt x="96" y="234"/>
                  </a:cubicBezTo>
                  <a:lnTo>
                    <a:pt x="1014" y="614"/>
                  </a:lnTo>
                  <a:cubicBezTo>
                    <a:pt x="1031" y="623"/>
                    <a:pt x="1048" y="627"/>
                    <a:pt x="1064" y="627"/>
                  </a:cubicBezTo>
                  <a:cubicBezTo>
                    <a:pt x="1107" y="627"/>
                    <a:pt x="1141" y="597"/>
                    <a:pt x="1141" y="551"/>
                  </a:cubicBezTo>
                  <a:cubicBezTo>
                    <a:pt x="1172" y="519"/>
                    <a:pt x="1141" y="456"/>
                    <a:pt x="1109" y="424"/>
                  </a:cubicBezTo>
                  <a:lnTo>
                    <a:pt x="191" y="12"/>
                  </a:lnTo>
                  <a:cubicBezTo>
                    <a:pt x="174" y="4"/>
                    <a:pt x="157" y="0"/>
                    <a:pt x="140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6" name="Google Shape;2626;p30"/>
            <p:cNvSpPr/>
            <p:nvPr/>
          </p:nvSpPr>
          <p:spPr>
            <a:xfrm>
              <a:off x="1234900" y="2270100"/>
              <a:ext cx="29325" cy="15700"/>
            </a:xfrm>
            <a:custGeom>
              <a:avLst/>
              <a:gdLst/>
              <a:ahLst/>
              <a:cxnLst/>
              <a:rect l="l" t="t" r="r" b="b"/>
              <a:pathLst>
                <a:path w="1173" h="628" extrusionOk="0">
                  <a:moveTo>
                    <a:pt x="123" y="1"/>
                  </a:moveTo>
                  <a:cubicBezTo>
                    <a:pt x="83" y="1"/>
                    <a:pt x="32" y="30"/>
                    <a:pt x="32" y="76"/>
                  </a:cubicBezTo>
                  <a:cubicBezTo>
                    <a:pt x="0" y="140"/>
                    <a:pt x="32" y="203"/>
                    <a:pt x="64" y="203"/>
                  </a:cubicBezTo>
                  <a:lnTo>
                    <a:pt x="1014" y="615"/>
                  </a:lnTo>
                  <a:cubicBezTo>
                    <a:pt x="1022" y="623"/>
                    <a:pt x="1033" y="627"/>
                    <a:pt x="1045" y="627"/>
                  </a:cubicBezTo>
                  <a:cubicBezTo>
                    <a:pt x="1077" y="627"/>
                    <a:pt x="1117" y="598"/>
                    <a:pt x="1140" y="551"/>
                  </a:cubicBezTo>
                  <a:cubicBezTo>
                    <a:pt x="1172" y="520"/>
                    <a:pt x="1140" y="425"/>
                    <a:pt x="1077" y="425"/>
                  </a:cubicBezTo>
                  <a:lnTo>
                    <a:pt x="159" y="13"/>
                  </a:lnTo>
                  <a:cubicBezTo>
                    <a:pt x="150" y="5"/>
                    <a:pt x="137" y="1"/>
                    <a:pt x="12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7" name="Google Shape;2627;p30"/>
            <p:cNvSpPr/>
            <p:nvPr/>
          </p:nvSpPr>
          <p:spPr>
            <a:xfrm>
              <a:off x="1335450" y="2503175"/>
              <a:ext cx="16650" cy="28850"/>
            </a:xfrm>
            <a:custGeom>
              <a:avLst/>
              <a:gdLst/>
              <a:ahLst/>
              <a:cxnLst/>
              <a:rect l="l" t="t" r="r" b="b"/>
              <a:pathLst>
                <a:path w="666" h="1154" extrusionOk="0">
                  <a:moveTo>
                    <a:pt x="602" y="1"/>
                  </a:moveTo>
                  <a:cubicBezTo>
                    <a:pt x="539" y="1"/>
                    <a:pt x="475" y="1"/>
                    <a:pt x="444" y="64"/>
                  </a:cubicBezTo>
                  <a:lnTo>
                    <a:pt x="32" y="982"/>
                  </a:lnTo>
                  <a:cubicBezTo>
                    <a:pt x="0" y="1046"/>
                    <a:pt x="32" y="1109"/>
                    <a:pt x="95" y="1141"/>
                  </a:cubicBezTo>
                  <a:cubicBezTo>
                    <a:pt x="112" y="1149"/>
                    <a:pt x="129" y="1153"/>
                    <a:pt x="146" y="1153"/>
                  </a:cubicBezTo>
                  <a:cubicBezTo>
                    <a:pt x="190" y="1153"/>
                    <a:pt x="230" y="1124"/>
                    <a:pt x="254" y="1077"/>
                  </a:cubicBezTo>
                  <a:lnTo>
                    <a:pt x="634" y="159"/>
                  </a:lnTo>
                  <a:cubicBezTo>
                    <a:pt x="665" y="96"/>
                    <a:pt x="634" y="32"/>
                    <a:pt x="602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8" name="Google Shape;2628;p30"/>
            <p:cNvSpPr/>
            <p:nvPr/>
          </p:nvSpPr>
          <p:spPr>
            <a:xfrm>
              <a:off x="1481125" y="2168750"/>
              <a:ext cx="15850" cy="29150"/>
            </a:xfrm>
            <a:custGeom>
              <a:avLst/>
              <a:gdLst/>
              <a:ahLst/>
              <a:cxnLst/>
              <a:rect l="l" t="t" r="r" b="b"/>
              <a:pathLst>
                <a:path w="634" h="1166" extrusionOk="0">
                  <a:moveTo>
                    <a:pt x="520" y="1"/>
                  </a:moveTo>
                  <a:cubicBezTo>
                    <a:pt x="475" y="1"/>
                    <a:pt x="435" y="30"/>
                    <a:pt x="412" y="77"/>
                  </a:cubicBezTo>
                  <a:lnTo>
                    <a:pt x="0" y="995"/>
                  </a:lnTo>
                  <a:cubicBezTo>
                    <a:pt x="0" y="1058"/>
                    <a:pt x="0" y="1122"/>
                    <a:pt x="64" y="1153"/>
                  </a:cubicBezTo>
                  <a:cubicBezTo>
                    <a:pt x="81" y="1162"/>
                    <a:pt x="98" y="1166"/>
                    <a:pt x="114" y="1166"/>
                  </a:cubicBezTo>
                  <a:cubicBezTo>
                    <a:pt x="159" y="1166"/>
                    <a:pt x="199" y="1137"/>
                    <a:pt x="222" y="1090"/>
                  </a:cubicBezTo>
                  <a:lnTo>
                    <a:pt x="634" y="172"/>
                  </a:lnTo>
                  <a:cubicBezTo>
                    <a:pt x="634" y="108"/>
                    <a:pt x="634" y="45"/>
                    <a:pt x="570" y="13"/>
                  </a:cubicBezTo>
                  <a:cubicBezTo>
                    <a:pt x="554" y="5"/>
                    <a:pt x="537" y="1"/>
                    <a:pt x="52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29" name="Google Shape;2629;p30"/>
            <p:cNvSpPr/>
            <p:nvPr/>
          </p:nvSpPr>
          <p:spPr>
            <a:xfrm>
              <a:off x="1394825" y="2237150"/>
              <a:ext cx="43575" cy="191625"/>
            </a:xfrm>
            <a:custGeom>
              <a:avLst/>
              <a:gdLst/>
              <a:ahLst/>
              <a:cxnLst/>
              <a:rect l="l" t="t" r="r" b="b"/>
              <a:pathLst>
                <a:path w="1743" h="7665" extrusionOk="0">
                  <a:moveTo>
                    <a:pt x="887" y="1"/>
                  </a:moveTo>
                  <a:lnTo>
                    <a:pt x="1" y="7665"/>
                  </a:lnTo>
                  <a:lnTo>
                    <a:pt x="1742" y="7665"/>
                  </a:lnTo>
                  <a:lnTo>
                    <a:pt x="887" y="1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0" name="Google Shape;2630;p30"/>
            <p:cNvSpPr/>
            <p:nvPr/>
          </p:nvSpPr>
          <p:spPr>
            <a:xfrm>
              <a:off x="1397200" y="2331375"/>
              <a:ext cx="38825" cy="38025"/>
            </a:xfrm>
            <a:custGeom>
              <a:avLst/>
              <a:gdLst/>
              <a:ahLst/>
              <a:cxnLst/>
              <a:rect l="l" t="t" r="r" b="b"/>
              <a:pathLst>
                <a:path w="1553" h="1521" extrusionOk="0">
                  <a:moveTo>
                    <a:pt x="792" y="1"/>
                  </a:moveTo>
                  <a:cubicBezTo>
                    <a:pt x="349" y="1"/>
                    <a:pt x="1" y="349"/>
                    <a:pt x="1" y="761"/>
                  </a:cubicBezTo>
                  <a:cubicBezTo>
                    <a:pt x="1" y="1172"/>
                    <a:pt x="349" y="1521"/>
                    <a:pt x="792" y="1521"/>
                  </a:cubicBezTo>
                  <a:cubicBezTo>
                    <a:pt x="1204" y="1521"/>
                    <a:pt x="1552" y="1172"/>
                    <a:pt x="1552" y="761"/>
                  </a:cubicBezTo>
                  <a:cubicBezTo>
                    <a:pt x="1552" y="349"/>
                    <a:pt x="1204" y="1"/>
                    <a:pt x="792" y="1"/>
                  </a:cubicBezTo>
                  <a:close/>
                </a:path>
              </a:pathLst>
            </a:custGeom>
            <a:solidFill>
              <a:srgbClr val="DD91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1" name="Google Shape;2631;p30"/>
            <p:cNvSpPr/>
            <p:nvPr/>
          </p:nvSpPr>
          <p:spPr>
            <a:xfrm>
              <a:off x="1405900" y="2340075"/>
              <a:ext cx="21400" cy="20625"/>
            </a:xfrm>
            <a:custGeom>
              <a:avLst/>
              <a:gdLst/>
              <a:ahLst/>
              <a:cxnLst/>
              <a:rect l="l" t="t" r="r" b="b"/>
              <a:pathLst>
                <a:path w="856" h="825" extrusionOk="0">
                  <a:moveTo>
                    <a:pt x="444" y="1"/>
                  </a:moveTo>
                  <a:cubicBezTo>
                    <a:pt x="191" y="1"/>
                    <a:pt x="1" y="191"/>
                    <a:pt x="1" y="413"/>
                  </a:cubicBezTo>
                  <a:cubicBezTo>
                    <a:pt x="1" y="634"/>
                    <a:pt x="191" y="824"/>
                    <a:pt x="444" y="824"/>
                  </a:cubicBezTo>
                  <a:cubicBezTo>
                    <a:pt x="666" y="824"/>
                    <a:pt x="856" y="634"/>
                    <a:pt x="856" y="413"/>
                  </a:cubicBezTo>
                  <a:cubicBezTo>
                    <a:pt x="856" y="191"/>
                    <a:pt x="666" y="1"/>
                    <a:pt x="444" y="1"/>
                  </a:cubicBezTo>
                  <a:close/>
                </a:path>
              </a:pathLst>
            </a:custGeom>
            <a:solidFill>
              <a:srgbClr val="F2A3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2" name="Google Shape;2632;p30"/>
            <p:cNvSpPr/>
            <p:nvPr/>
          </p:nvSpPr>
          <p:spPr>
            <a:xfrm>
              <a:off x="1340200" y="2032900"/>
              <a:ext cx="152025" cy="29325"/>
            </a:xfrm>
            <a:custGeom>
              <a:avLst/>
              <a:gdLst/>
              <a:ahLst/>
              <a:cxnLst/>
              <a:rect l="l" t="t" r="r" b="b"/>
              <a:pathLst>
                <a:path w="6081" h="1173" extrusionOk="0">
                  <a:moveTo>
                    <a:pt x="0" y="0"/>
                  </a:moveTo>
                  <a:lnTo>
                    <a:pt x="0" y="1172"/>
                  </a:lnTo>
                  <a:lnTo>
                    <a:pt x="6081" y="1172"/>
                  </a:lnTo>
                  <a:lnTo>
                    <a:pt x="6081" y="0"/>
                  </a:ln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3" name="Google Shape;2633;p30"/>
            <p:cNvSpPr/>
            <p:nvPr/>
          </p:nvSpPr>
          <p:spPr>
            <a:xfrm>
              <a:off x="1366325" y="2062200"/>
              <a:ext cx="101375" cy="11900"/>
            </a:xfrm>
            <a:custGeom>
              <a:avLst/>
              <a:gdLst/>
              <a:ahLst/>
              <a:cxnLst/>
              <a:rect l="l" t="t" r="r" b="b"/>
              <a:pathLst>
                <a:path w="4055" h="476" extrusionOk="0">
                  <a:moveTo>
                    <a:pt x="0" y="0"/>
                  </a:moveTo>
                  <a:lnTo>
                    <a:pt x="0" y="475"/>
                  </a:lnTo>
                  <a:lnTo>
                    <a:pt x="4054" y="475"/>
                  </a:lnTo>
                  <a:lnTo>
                    <a:pt x="4054" y="0"/>
                  </a:ln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4" name="Google Shape;2634;p30"/>
            <p:cNvSpPr/>
            <p:nvPr/>
          </p:nvSpPr>
          <p:spPr>
            <a:xfrm>
              <a:off x="2855550" y="3039150"/>
              <a:ext cx="186875" cy="170050"/>
            </a:xfrm>
            <a:custGeom>
              <a:avLst/>
              <a:gdLst/>
              <a:ahLst/>
              <a:cxnLst/>
              <a:rect l="l" t="t" r="r" b="b"/>
              <a:pathLst>
                <a:path w="7475" h="6802" extrusionOk="0">
                  <a:moveTo>
                    <a:pt x="3728" y="1"/>
                  </a:moveTo>
                  <a:cubicBezTo>
                    <a:pt x="2186" y="1"/>
                    <a:pt x="796" y="1057"/>
                    <a:pt x="444" y="2598"/>
                  </a:cubicBezTo>
                  <a:cubicBezTo>
                    <a:pt x="1" y="4435"/>
                    <a:pt x="1141" y="6272"/>
                    <a:pt x="2946" y="6715"/>
                  </a:cubicBezTo>
                  <a:cubicBezTo>
                    <a:pt x="3204" y="6773"/>
                    <a:pt x="3463" y="6801"/>
                    <a:pt x="3717" y="6801"/>
                  </a:cubicBezTo>
                  <a:cubicBezTo>
                    <a:pt x="5271" y="6801"/>
                    <a:pt x="6678" y="5760"/>
                    <a:pt x="7031" y="4182"/>
                  </a:cubicBezTo>
                  <a:cubicBezTo>
                    <a:pt x="7475" y="2345"/>
                    <a:pt x="6335" y="508"/>
                    <a:pt x="4530" y="97"/>
                  </a:cubicBezTo>
                  <a:cubicBezTo>
                    <a:pt x="4261" y="32"/>
                    <a:pt x="3993" y="1"/>
                    <a:pt x="372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5" name="Google Shape;2635;p30"/>
            <p:cNvSpPr/>
            <p:nvPr/>
          </p:nvSpPr>
          <p:spPr>
            <a:xfrm>
              <a:off x="2874575" y="3056275"/>
              <a:ext cx="148850" cy="135250"/>
            </a:xfrm>
            <a:custGeom>
              <a:avLst/>
              <a:gdLst/>
              <a:ahLst/>
              <a:cxnLst/>
              <a:rect l="l" t="t" r="r" b="b"/>
              <a:pathLst>
                <a:path w="5954" h="5410" extrusionOk="0">
                  <a:moveTo>
                    <a:pt x="2940" y="1"/>
                  </a:moveTo>
                  <a:cubicBezTo>
                    <a:pt x="1718" y="1"/>
                    <a:pt x="614" y="829"/>
                    <a:pt x="317" y="2072"/>
                  </a:cubicBezTo>
                  <a:cubicBezTo>
                    <a:pt x="0" y="3528"/>
                    <a:pt x="887" y="4985"/>
                    <a:pt x="2344" y="5334"/>
                  </a:cubicBezTo>
                  <a:cubicBezTo>
                    <a:pt x="2557" y="5385"/>
                    <a:pt x="2771" y="5409"/>
                    <a:pt x="2982" y="5409"/>
                  </a:cubicBezTo>
                  <a:cubicBezTo>
                    <a:pt x="4204" y="5409"/>
                    <a:pt x="5308" y="4581"/>
                    <a:pt x="5605" y="3338"/>
                  </a:cubicBezTo>
                  <a:cubicBezTo>
                    <a:pt x="5954" y="1882"/>
                    <a:pt x="5035" y="425"/>
                    <a:pt x="3579" y="77"/>
                  </a:cubicBezTo>
                  <a:cubicBezTo>
                    <a:pt x="3365" y="25"/>
                    <a:pt x="3151" y="1"/>
                    <a:pt x="2940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6" name="Google Shape;2636;p30"/>
            <p:cNvSpPr/>
            <p:nvPr/>
          </p:nvSpPr>
          <p:spPr>
            <a:xfrm>
              <a:off x="2876950" y="3081125"/>
              <a:ext cx="137775" cy="110775"/>
            </a:xfrm>
            <a:custGeom>
              <a:avLst/>
              <a:gdLst/>
              <a:ahLst/>
              <a:cxnLst/>
              <a:rect l="l" t="t" r="r" b="b"/>
              <a:pathLst>
                <a:path w="5511" h="4431" extrusionOk="0">
                  <a:moveTo>
                    <a:pt x="792" y="1"/>
                  </a:moveTo>
                  <a:lnTo>
                    <a:pt x="792" y="1"/>
                  </a:lnTo>
                  <a:cubicBezTo>
                    <a:pt x="190" y="729"/>
                    <a:pt x="0" y="1774"/>
                    <a:pt x="380" y="2724"/>
                  </a:cubicBezTo>
                  <a:cubicBezTo>
                    <a:pt x="792" y="3791"/>
                    <a:pt x="1817" y="4431"/>
                    <a:pt x="2899" y="4431"/>
                  </a:cubicBezTo>
                  <a:cubicBezTo>
                    <a:pt x="3231" y="4431"/>
                    <a:pt x="3568" y="4371"/>
                    <a:pt x="3895" y="4245"/>
                  </a:cubicBezTo>
                  <a:cubicBezTo>
                    <a:pt x="4719" y="3896"/>
                    <a:pt x="5289" y="3200"/>
                    <a:pt x="5510" y="2376"/>
                  </a:cubicBezTo>
                  <a:lnTo>
                    <a:pt x="5510" y="2376"/>
                  </a:lnTo>
                  <a:cubicBezTo>
                    <a:pt x="5225" y="2724"/>
                    <a:pt x="4845" y="3010"/>
                    <a:pt x="4402" y="3168"/>
                  </a:cubicBezTo>
                  <a:cubicBezTo>
                    <a:pt x="4071" y="3306"/>
                    <a:pt x="3727" y="3372"/>
                    <a:pt x="3388" y="3372"/>
                  </a:cubicBezTo>
                  <a:cubicBezTo>
                    <a:pt x="2331" y="3372"/>
                    <a:pt x="1318" y="2734"/>
                    <a:pt x="887" y="1679"/>
                  </a:cubicBezTo>
                  <a:cubicBezTo>
                    <a:pt x="665" y="1109"/>
                    <a:pt x="633" y="539"/>
                    <a:pt x="792" y="1"/>
                  </a:cubicBezTo>
                  <a:close/>
                </a:path>
              </a:pathLst>
            </a:custGeom>
            <a:solidFill>
              <a:srgbClr val="263C4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7" name="Google Shape;2637;p30"/>
            <p:cNvSpPr/>
            <p:nvPr/>
          </p:nvSpPr>
          <p:spPr>
            <a:xfrm>
              <a:off x="2925225" y="2517425"/>
              <a:ext cx="57825" cy="58625"/>
            </a:xfrm>
            <a:custGeom>
              <a:avLst/>
              <a:gdLst/>
              <a:ahLst/>
              <a:cxnLst/>
              <a:rect l="l" t="t" r="r" b="b"/>
              <a:pathLst>
                <a:path w="2313" h="2345" extrusionOk="0">
                  <a:moveTo>
                    <a:pt x="1173" y="1"/>
                  </a:moveTo>
                  <a:cubicBezTo>
                    <a:pt x="508" y="1"/>
                    <a:pt x="1" y="539"/>
                    <a:pt x="1" y="1172"/>
                  </a:cubicBezTo>
                  <a:cubicBezTo>
                    <a:pt x="1" y="1806"/>
                    <a:pt x="508" y="2344"/>
                    <a:pt x="1173" y="2344"/>
                  </a:cubicBezTo>
                  <a:cubicBezTo>
                    <a:pt x="1806" y="2344"/>
                    <a:pt x="2313" y="1806"/>
                    <a:pt x="2313" y="1172"/>
                  </a:cubicBezTo>
                  <a:cubicBezTo>
                    <a:pt x="2313" y="539"/>
                    <a:pt x="1806" y="1"/>
                    <a:pt x="1173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8" name="Google Shape;2638;p30"/>
            <p:cNvSpPr/>
            <p:nvPr/>
          </p:nvSpPr>
          <p:spPr>
            <a:xfrm>
              <a:off x="2925225" y="2647275"/>
              <a:ext cx="57825" cy="57825"/>
            </a:xfrm>
            <a:custGeom>
              <a:avLst/>
              <a:gdLst/>
              <a:ahLst/>
              <a:cxnLst/>
              <a:rect l="l" t="t" r="r" b="b"/>
              <a:pathLst>
                <a:path w="2313" h="2313" extrusionOk="0">
                  <a:moveTo>
                    <a:pt x="1173" y="0"/>
                  </a:moveTo>
                  <a:cubicBezTo>
                    <a:pt x="508" y="0"/>
                    <a:pt x="1" y="507"/>
                    <a:pt x="1" y="1172"/>
                  </a:cubicBezTo>
                  <a:cubicBezTo>
                    <a:pt x="1" y="1806"/>
                    <a:pt x="508" y="2312"/>
                    <a:pt x="1173" y="2312"/>
                  </a:cubicBezTo>
                  <a:cubicBezTo>
                    <a:pt x="1806" y="2312"/>
                    <a:pt x="2313" y="1806"/>
                    <a:pt x="2313" y="1172"/>
                  </a:cubicBezTo>
                  <a:cubicBezTo>
                    <a:pt x="2313" y="507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39" name="Google Shape;2639;p30"/>
            <p:cNvSpPr/>
            <p:nvPr/>
          </p:nvSpPr>
          <p:spPr>
            <a:xfrm>
              <a:off x="2925225" y="2776325"/>
              <a:ext cx="57825" cy="58600"/>
            </a:xfrm>
            <a:custGeom>
              <a:avLst/>
              <a:gdLst/>
              <a:ahLst/>
              <a:cxnLst/>
              <a:rect l="l" t="t" r="r" b="b"/>
              <a:pathLst>
                <a:path w="2313" h="2344" extrusionOk="0">
                  <a:moveTo>
                    <a:pt x="1173" y="0"/>
                  </a:moveTo>
                  <a:cubicBezTo>
                    <a:pt x="508" y="0"/>
                    <a:pt x="1" y="539"/>
                    <a:pt x="1" y="1172"/>
                  </a:cubicBezTo>
                  <a:cubicBezTo>
                    <a:pt x="1" y="1806"/>
                    <a:pt x="508" y="2344"/>
                    <a:pt x="1173" y="2344"/>
                  </a:cubicBezTo>
                  <a:cubicBezTo>
                    <a:pt x="1806" y="2344"/>
                    <a:pt x="2313" y="1806"/>
                    <a:pt x="2313" y="1172"/>
                  </a:cubicBezTo>
                  <a:cubicBezTo>
                    <a:pt x="2313" y="539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0" name="Google Shape;2640;p30"/>
            <p:cNvSpPr/>
            <p:nvPr/>
          </p:nvSpPr>
          <p:spPr>
            <a:xfrm>
              <a:off x="2925225" y="2906175"/>
              <a:ext cx="57825" cy="57800"/>
            </a:xfrm>
            <a:custGeom>
              <a:avLst/>
              <a:gdLst/>
              <a:ahLst/>
              <a:cxnLst/>
              <a:rect l="l" t="t" r="r" b="b"/>
              <a:pathLst>
                <a:path w="2313" h="2312" extrusionOk="0">
                  <a:moveTo>
                    <a:pt x="1173" y="0"/>
                  </a:moveTo>
                  <a:cubicBezTo>
                    <a:pt x="508" y="0"/>
                    <a:pt x="1" y="507"/>
                    <a:pt x="1" y="1172"/>
                  </a:cubicBezTo>
                  <a:cubicBezTo>
                    <a:pt x="1" y="1805"/>
                    <a:pt x="508" y="2312"/>
                    <a:pt x="1173" y="2312"/>
                  </a:cubicBezTo>
                  <a:cubicBezTo>
                    <a:pt x="1806" y="2312"/>
                    <a:pt x="2313" y="1805"/>
                    <a:pt x="2313" y="1172"/>
                  </a:cubicBezTo>
                  <a:cubicBezTo>
                    <a:pt x="2313" y="507"/>
                    <a:pt x="1806" y="0"/>
                    <a:pt x="1173" y="0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1" name="Google Shape;2641;p30"/>
            <p:cNvSpPr/>
            <p:nvPr/>
          </p:nvSpPr>
          <p:spPr>
            <a:xfrm>
              <a:off x="4385975" y="3022550"/>
              <a:ext cx="176575" cy="176575"/>
            </a:xfrm>
            <a:custGeom>
              <a:avLst/>
              <a:gdLst/>
              <a:ahLst/>
              <a:cxnLst/>
              <a:rect l="l" t="t" r="r" b="b"/>
              <a:pathLst>
                <a:path w="7063" h="7063" extrusionOk="0">
                  <a:moveTo>
                    <a:pt x="3547" y="0"/>
                  </a:moveTo>
                  <a:cubicBezTo>
                    <a:pt x="1584" y="0"/>
                    <a:pt x="0" y="1584"/>
                    <a:pt x="0" y="3516"/>
                  </a:cubicBezTo>
                  <a:cubicBezTo>
                    <a:pt x="0" y="5479"/>
                    <a:pt x="1584" y="7063"/>
                    <a:pt x="3547" y="7063"/>
                  </a:cubicBezTo>
                  <a:cubicBezTo>
                    <a:pt x="5479" y="7063"/>
                    <a:pt x="7062" y="5479"/>
                    <a:pt x="7062" y="3516"/>
                  </a:cubicBezTo>
                  <a:cubicBezTo>
                    <a:pt x="7062" y="1584"/>
                    <a:pt x="5479" y="0"/>
                    <a:pt x="35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2" name="Google Shape;2642;p30"/>
            <p:cNvSpPr/>
            <p:nvPr/>
          </p:nvSpPr>
          <p:spPr>
            <a:xfrm>
              <a:off x="4404175" y="3039975"/>
              <a:ext cx="140175" cy="140950"/>
            </a:xfrm>
            <a:custGeom>
              <a:avLst/>
              <a:gdLst/>
              <a:ahLst/>
              <a:cxnLst/>
              <a:rect l="l" t="t" r="r" b="b"/>
              <a:pathLst>
                <a:path w="5607" h="5638" extrusionOk="0">
                  <a:moveTo>
                    <a:pt x="2819" y="0"/>
                  </a:moveTo>
                  <a:cubicBezTo>
                    <a:pt x="1236" y="0"/>
                    <a:pt x="1" y="1267"/>
                    <a:pt x="1" y="2819"/>
                  </a:cubicBezTo>
                  <a:cubicBezTo>
                    <a:pt x="1" y="4370"/>
                    <a:pt x="1236" y="5637"/>
                    <a:pt x="2819" y="5637"/>
                  </a:cubicBezTo>
                  <a:cubicBezTo>
                    <a:pt x="4371" y="5637"/>
                    <a:pt x="5606" y="4370"/>
                    <a:pt x="5606" y="2819"/>
                  </a:cubicBezTo>
                  <a:cubicBezTo>
                    <a:pt x="5606" y="1267"/>
                    <a:pt x="4371" y="0"/>
                    <a:pt x="2819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3" name="Google Shape;2643;p30"/>
            <p:cNvSpPr/>
            <p:nvPr/>
          </p:nvSpPr>
          <p:spPr>
            <a:xfrm>
              <a:off x="4399425" y="3066100"/>
              <a:ext cx="143325" cy="115025"/>
            </a:xfrm>
            <a:custGeom>
              <a:avLst/>
              <a:gdLst/>
              <a:ahLst/>
              <a:cxnLst/>
              <a:rect l="l" t="t" r="r" b="b"/>
              <a:pathLst>
                <a:path w="5733" h="4601" extrusionOk="0">
                  <a:moveTo>
                    <a:pt x="824" y="0"/>
                  </a:moveTo>
                  <a:lnTo>
                    <a:pt x="824" y="0"/>
                  </a:lnTo>
                  <a:cubicBezTo>
                    <a:pt x="191" y="760"/>
                    <a:pt x="1" y="1837"/>
                    <a:pt x="381" y="2819"/>
                  </a:cubicBezTo>
                  <a:cubicBezTo>
                    <a:pt x="816" y="3932"/>
                    <a:pt x="1880" y="4601"/>
                    <a:pt x="3007" y="4601"/>
                  </a:cubicBezTo>
                  <a:cubicBezTo>
                    <a:pt x="3356" y="4601"/>
                    <a:pt x="3710" y="4537"/>
                    <a:pt x="4054" y="4402"/>
                  </a:cubicBezTo>
                  <a:cubicBezTo>
                    <a:pt x="4909" y="4054"/>
                    <a:pt x="5511" y="3325"/>
                    <a:pt x="5733" y="2470"/>
                  </a:cubicBezTo>
                  <a:lnTo>
                    <a:pt x="5733" y="2470"/>
                  </a:lnTo>
                  <a:cubicBezTo>
                    <a:pt x="5416" y="2819"/>
                    <a:pt x="5036" y="3135"/>
                    <a:pt x="4593" y="3294"/>
                  </a:cubicBezTo>
                  <a:cubicBezTo>
                    <a:pt x="4251" y="3438"/>
                    <a:pt x="3896" y="3506"/>
                    <a:pt x="3547" y="3506"/>
                  </a:cubicBezTo>
                  <a:cubicBezTo>
                    <a:pt x="2439" y="3506"/>
                    <a:pt x="1384" y="2825"/>
                    <a:pt x="951" y="1742"/>
                  </a:cubicBezTo>
                  <a:cubicBezTo>
                    <a:pt x="697" y="1172"/>
                    <a:pt x="666" y="570"/>
                    <a:pt x="824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4" name="Google Shape;2644;p30"/>
            <p:cNvSpPr/>
            <p:nvPr/>
          </p:nvSpPr>
          <p:spPr>
            <a:xfrm>
              <a:off x="4442975" y="3263225"/>
              <a:ext cx="58600" cy="58625"/>
            </a:xfrm>
            <a:custGeom>
              <a:avLst/>
              <a:gdLst/>
              <a:ahLst/>
              <a:cxnLst/>
              <a:rect l="l" t="t" r="r" b="b"/>
              <a:pathLst>
                <a:path w="2344" h="2345" extrusionOk="0">
                  <a:moveTo>
                    <a:pt x="1172" y="1"/>
                  </a:moveTo>
                  <a:cubicBezTo>
                    <a:pt x="539" y="1"/>
                    <a:pt x="0" y="539"/>
                    <a:pt x="0" y="1173"/>
                  </a:cubicBezTo>
                  <a:cubicBezTo>
                    <a:pt x="0" y="1806"/>
                    <a:pt x="539" y="2344"/>
                    <a:pt x="1172" y="2344"/>
                  </a:cubicBezTo>
                  <a:cubicBezTo>
                    <a:pt x="1806" y="2344"/>
                    <a:pt x="2344" y="1806"/>
                    <a:pt x="2344" y="1173"/>
                  </a:cubicBezTo>
                  <a:cubicBezTo>
                    <a:pt x="2344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5" name="Google Shape;2645;p30"/>
            <p:cNvSpPr/>
            <p:nvPr/>
          </p:nvSpPr>
          <p:spPr>
            <a:xfrm>
              <a:off x="4442975" y="3393075"/>
              <a:ext cx="58600" cy="57825"/>
            </a:xfrm>
            <a:custGeom>
              <a:avLst/>
              <a:gdLst/>
              <a:ahLst/>
              <a:cxnLst/>
              <a:rect l="l" t="t" r="r" b="b"/>
              <a:pathLst>
                <a:path w="2344" h="2313" extrusionOk="0">
                  <a:moveTo>
                    <a:pt x="1172" y="1"/>
                  </a:moveTo>
                  <a:cubicBezTo>
                    <a:pt x="539" y="1"/>
                    <a:pt x="0" y="507"/>
                    <a:pt x="0" y="1172"/>
                  </a:cubicBezTo>
                  <a:cubicBezTo>
                    <a:pt x="0" y="1806"/>
                    <a:pt x="539" y="2312"/>
                    <a:pt x="1172" y="2312"/>
                  </a:cubicBezTo>
                  <a:cubicBezTo>
                    <a:pt x="1806" y="2312"/>
                    <a:pt x="2344" y="1806"/>
                    <a:pt x="2344" y="1172"/>
                  </a:cubicBezTo>
                  <a:cubicBezTo>
                    <a:pt x="2344" y="507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6" name="Google Shape;2646;p30"/>
            <p:cNvSpPr/>
            <p:nvPr/>
          </p:nvSpPr>
          <p:spPr>
            <a:xfrm>
              <a:off x="4442975" y="3522125"/>
              <a:ext cx="58600" cy="58625"/>
            </a:xfrm>
            <a:custGeom>
              <a:avLst/>
              <a:gdLst/>
              <a:ahLst/>
              <a:cxnLst/>
              <a:rect l="l" t="t" r="r" b="b"/>
              <a:pathLst>
                <a:path w="2344" h="2345" extrusionOk="0">
                  <a:moveTo>
                    <a:pt x="1172" y="1"/>
                  </a:moveTo>
                  <a:cubicBezTo>
                    <a:pt x="539" y="1"/>
                    <a:pt x="0" y="539"/>
                    <a:pt x="0" y="1172"/>
                  </a:cubicBezTo>
                  <a:cubicBezTo>
                    <a:pt x="0" y="1806"/>
                    <a:pt x="539" y="2344"/>
                    <a:pt x="1172" y="2344"/>
                  </a:cubicBezTo>
                  <a:cubicBezTo>
                    <a:pt x="1806" y="2344"/>
                    <a:pt x="2344" y="1806"/>
                    <a:pt x="2344" y="1172"/>
                  </a:cubicBezTo>
                  <a:cubicBezTo>
                    <a:pt x="2344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7" name="Google Shape;2647;p30"/>
            <p:cNvSpPr/>
            <p:nvPr/>
          </p:nvSpPr>
          <p:spPr>
            <a:xfrm>
              <a:off x="4442975" y="3651975"/>
              <a:ext cx="58600" cy="57825"/>
            </a:xfrm>
            <a:custGeom>
              <a:avLst/>
              <a:gdLst/>
              <a:ahLst/>
              <a:cxnLst/>
              <a:rect l="l" t="t" r="r" b="b"/>
              <a:pathLst>
                <a:path w="2344" h="2313" extrusionOk="0">
                  <a:moveTo>
                    <a:pt x="1172" y="0"/>
                  </a:moveTo>
                  <a:cubicBezTo>
                    <a:pt x="539" y="0"/>
                    <a:pt x="0" y="507"/>
                    <a:pt x="0" y="1172"/>
                  </a:cubicBezTo>
                  <a:cubicBezTo>
                    <a:pt x="0" y="1805"/>
                    <a:pt x="539" y="2312"/>
                    <a:pt x="1172" y="2312"/>
                  </a:cubicBezTo>
                  <a:cubicBezTo>
                    <a:pt x="1806" y="2312"/>
                    <a:pt x="2344" y="1805"/>
                    <a:pt x="2344" y="1172"/>
                  </a:cubicBezTo>
                  <a:cubicBezTo>
                    <a:pt x="2344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8" name="Google Shape;2648;p30"/>
            <p:cNvSpPr/>
            <p:nvPr/>
          </p:nvSpPr>
          <p:spPr>
            <a:xfrm>
              <a:off x="5909250" y="3022550"/>
              <a:ext cx="183700" cy="183700"/>
            </a:xfrm>
            <a:custGeom>
              <a:avLst/>
              <a:gdLst/>
              <a:ahLst/>
              <a:cxnLst/>
              <a:rect l="l" t="t" r="r" b="b"/>
              <a:pathLst>
                <a:path w="7348" h="7348" extrusionOk="0">
                  <a:moveTo>
                    <a:pt x="3674" y="0"/>
                  </a:moveTo>
                  <a:cubicBezTo>
                    <a:pt x="1647" y="0"/>
                    <a:pt x="1" y="1647"/>
                    <a:pt x="1" y="3674"/>
                  </a:cubicBezTo>
                  <a:cubicBezTo>
                    <a:pt x="1" y="5701"/>
                    <a:pt x="1647" y="7348"/>
                    <a:pt x="3674" y="7348"/>
                  </a:cubicBezTo>
                  <a:cubicBezTo>
                    <a:pt x="5701" y="7348"/>
                    <a:pt x="7348" y="5701"/>
                    <a:pt x="7348" y="3674"/>
                  </a:cubicBezTo>
                  <a:cubicBezTo>
                    <a:pt x="7348" y="1647"/>
                    <a:pt x="5701" y="0"/>
                    <a:pt x="367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49" name="Google Shape;2649;p30"/>
            <p:cNvSpPr/>
            <p:nvPr/>
          </p:nvSpPr>
          <p:spPr>
            <a:xfrm>
              <a:off x="5928250" y="3040750"/>
              <a:ext cx="146500" cy="146500"/>
            </a:xfrm>
            <a:custGeom>
              <a:avLst/>
              <a:gdLst/>
              <a:ahLst/>
              <a:cxnLst/>
              <a:rect l="l" t="t" r="r" b="b"/>
              <a:pathLst>
                <a:path w="5860" h="5860" extrusionOk="0">
                  <a:moveTo>
                    <a:pt x="2914" y="1"/>
                  </a:moveTo>
                  <a:cubicBezTo>
                    <a:pt x="1299" y="1"/>
                    <a:pt x="1" y="1331"/>
                    <a:pt x="1" y="2946"/>
                  </a:cubicBezTo>
                  <a:cubicBezTo>
                    <a:pt x="1" y="4561"/>
                    <a:pt x="1299" y="5860"/>
                    <a:pt x="2914" y="5860"/>
                  </a:cubicBezTo>
                  <a:cubicBezTo>
                    <a:pt x="4529" y="5860"/>
                    <a:pt x="5859" y="4561"/>
                    <a:pt x="5859" y="2946"/>
                  </a:cubicBezTo>
                  <a:cubicBezTo>
                    <a:pt x="5859" y="1331"/>
                    <a:pt x="4529" y="1"/>
                    <a:pt x="2914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0" name="Google Shape;2650;p30"/>
            <p:cNvSpPr/>
            <p:nvPr/>
          </p:nvSpPr>
          <p:spPr>
            <a:xfrm>
              <a:off x="5923500" y="3067675"/>
              <a:ext cx="148875" cy="120100"/>
            </a:xfrm>
            <a:custGeom>
              <a:avLst/>
              <a:gdLst/>
              <a:ahLst/>
              <a:cxnLst/>
              <a:rect l="l" t="t" r="r" b="b"/>
              <a:pathLst>
                <a:path w="5955" h="4804" extrusionOk="0">
                  <a:moveTo>
                    <a:pt x="856" y="1"/>
                  </a:moveTo>
                  <a:lnTo>
                    <a:pt x="856" y="1"/>
                  </a:lnTo>
                  <a:cubicBezTo>
                    <a:pt x="191" y="824"/>
                    <a:pt x="1" y="1932"/>
                    <a:pt x="412" y="2946"/>
                  </a:cubicBezTo>
                  <a:cubicBezTo>
                    <a:pt x="871" y="4105"/>
                    <a:pt x="1956" y="4803"/>
                    <a:pt x="3119" y="4803"/>
                  </a:cubicBezTo>
                  <a:cubicBezTo>
                    <a:pt x="3481" y="4803"/>
                    <a:pt x="3851" y="4736"/>
                    <a:pt x="4213" y="4593"/>
                  </a:cubicBezTo>
                  <a:cubicBezTo>
                    <a:pt x="5099" y="4213"/>
                    <a:pt x="5733" y="3453"/>
                    <a:pt x="5954" y="2597"/>
                  </a:cubicBezTo>
                  <a:lnTo>
                    <a:pt x="5954" y="2597"/>
                  </a:lnTo>
                  <a:cubicBezTo>
                    <a:pt x="5638" y="2946"/>
                    <a:pt x="5258" y="3262"/>
                    <a:pt x="4783" y="3453"/>
                  </a:cubicBezTo>
                  <a:cubicBezTo>
                    <a:pt x="4421" y="3595"/>
                    <a:pt x="4051" y="3663"/>
                    <a:pt x="3688" y="3663"/>
                  </a:cubicBezTo>
                  <a:cubicBezTo>
                    <a:pt x="2524" y="3663"/>
                    <a:pt x="1434" y="2965"/>
                    <a:pt x="951" y="1806"/>
                  </a:cubicBezTo>
                  <a:cubicBezTo>
                    <a:pt x="729" y="1236"/>
                    <a:pt x="697" y="602"/>
                    <a:pt x="856" y="1"/>
                  </a:cubicBezTo>
                  <a:close/>
                </a:path>
              </a:pathLst>
            </a:custGeom>
            <a:solidFill>
              <a:srgbClr val="1B1F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1" name="Google Shape;2651;p30"/>
            <p:cNvSpPr/>
            <p:nvPr/>
          </p:nvSpPr>
          <p:spPr>
            <a:xfrm>
              <a:off x="5964675" y="2517425"/>
              <a:ext cx="57825" cy="58625"/>
            </a:xfrm>
            <a:custGeom>
              <a:avLst/>
              <a:gdLst/>
              <a:ahLst/>
              <a:cxnLst/>
              <a:rect l="l" t="t" r="r" b="b"/>
              <a:pathLst>
                <a:path w="2313" h="2345" extrusionOk="0">
                  <a:moveTo>
                    <a:pt x="1172" y="1"/>
                  </a:moveTo>
                  <a:cubicBezTo>
                    <a:pt x="507" y="1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6" y="2344"/>
                    <a:pt x="2312" y="1806"/>
                    <a:pt x="2312" y="1172"/>
                  </a:cubicBezTo>
                  <a:cubicBezTo>
                    <a:pt x="2312" y="539"/>
                    <a:pt x="1806" y="1"/>
                    <a:pt x="1172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2" name="Google Shape;2652;p30"/>
            <p:cNvSpPr/>
            <p:nvPr/>
          </p:nvSpPr>
          <p:spPr>
            <a:xfrm>
              <a:off x="5964675" y="2647275"/>
              <a:ext cx="57825" cy="57825"/>
            </a:xfrm>
            <a:custGeom>
              <a:avLst/>
              <a:gdLst/>
              <a:ahLst/>
              <a:cxnLst/>
              <a:rect l="l" t="t" r="r" b="b"/>
              <a:pathLst>
                <a:path w="2313" h="2313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6"/>
                    <a:pt x="507" y="2312"/>
                    <a:pt x="1172" y="2312"/>
                  </a:cubicBezTo>
                  <a:cubicBezTo>
                    <a:pt x="1806" y="2312"/>
                    <a:pt x="2312" y="1806"/>
                    <a:pt x="2312" y="1172"/>
                  </a:cubicBezTo>
                  <a:cubicBezTo>
                    <a:pt x="2312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3" name="Google Shape;2653;p30"/>
            <p:cNvSpPr/>
            <p:nvPr/>
          </p:nvSpPr>
          <p:spPr>
            <a:xfrm>
              <a:off x="5964675" y="2776325"/>
              <a:ext cx="57825" cy="58600"/>
            </a:xfrm>
            <a:custGeom>
              <a:avLst/>
              <a:gdLst/>
              <a:ahLst/>
              <a:cxnLst/>
              <a:rect l="l" t="t" r="r" b="b"/>
              <a:pathLst>
                <a:path w="2313" h="2344" extrusionOk="0">
                  <a:moveTo>
                    <a:pt x="1172" y="0"/>
                  </a:moveTo>
                  <a:cubicBezTo>
                    <a:pt x="507" y="0"/>
                    <a:pt x="0" y="539"/>
                    <a:pt x="0" y="1172"/>
                  </a:cubicBezTo>
                  <a:cubicBezTo>
                    <a:pt x="0" y="1806"/>
                    <a:pt x="507" y="2344"/>
                    <a:pt x="1172" y="2344"/>
                  </a:cubicBezTo>
                  <a:cubicBezTo>
                    <a:pt x="1806" y="2344"/>
                    <a:pt x="2312" y="1806"/>
                    <a:pt x="2312" y="1172"/>
                  </a:cubicBezTo>
                  <a:cubicBezTo>
                    <a:pt x="2312" y="539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4" name="Google Shape;2654;p30"/>
            <p:cNvSpPr/>
            <p:nvPr/>
          </p:nvSpPr>
          <p:spPr>
            <a:xfrm>
              <a:off x="5964675" y="2906175"/>
              <a:ext cx="57825" cy="57800"/>
            </a:xfrm>
            <a:custGeom>
              <a:avLst/>
              <a:gdLst/>
              <a:ahLst/>
              <a:cxnLst/>
              <a:rect l="l" t="t" r="r" b="b"/>
              <a:pathLst>
                <a:path w="2313" h="2312" extrusionOk="0">
                  <a:moveTo>
                    <a:pt x="1172" y="0"/>
                  </a:moveTo>
                  <a:cubicBezTo>
                    <a:pt x="507" y="0"/>
                    <a:pt x="0" y="507"/>
                    <a:pt x="0" y="1172"/>
                  </a:cubicBezTo>
                  <a:cubicBezTo>
                    <a:pt x="0" y="1805"/>
                    <a:pt x="507" y="2312"/>
                    <a:pt x="1172" y="2312"/>
                  </a:cubicBezTo>
                  <a:cubicBezTo>
                    <a:pt x="1806" y="2312"/>
                    <a:pt x="2312" y="1805"/>
                    <a:pt x="2312" y="1172"/>
                  </a:cubicBezTo>
                  <a:cubicBezTo>
                    <a:pt x="2312" y="507"/>
                    <a:pt x="1806" y="0"/>
                    <a:pt x="1172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7" name="Google Shape;2657;p30"/>
            <p:cNvSpPr/>
            <p:nvPr/>
          </p:nvSpPr>
          <p:spPr>
            <a:xfrm>
              <a:off x="5955975" y="3779425"/>
              <a:ext cx="14275" cy="27750"/>
            </a:xfrm>
            <a:custGeom>
              <a:avLst/>
              <a:gdLst/>
              <a:ahLst/>
              <a:cxnLst/>
              <a:rect l="l" t="t" r="r" b="b"/>
              <a:pathLst>
                <a:path w="571" h="1110" extrusionOk="0">
                  <a:moveTo>
                    <a:pt x="0" y="1"/>
                  </a:moveTo>
                  <a:lnTo>
                    <a:pt x="0" y="1109"/>
                  </a:lnTo>
                  <a:lnTo>
                    <a:pt x="570" y="1109"/>
                  </a:lnTo>
                  <a:lnTo>
                    <a:pt x="57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8" name="Google Shape;2658;p30"/>
            <p:cNvSpPr/>
            <p:nvPr/>
          </p:nvSpPr>
          <p:spPr>
            <a:xfrm>
              <a:off x="5927450" y="3783400"/>
              <a:ext cx="26150" cy="31700"/>
            </a:xfrm>
            <a:custGeom>
              <a:avLst/>
              <a:gdLst/>
              <a:ahLst/>
              <a:cxnLst/>
              <a:rect l="l" t="t" r="r" b="b"/>
              <a:pathLst>
                <a:path w="1046" h="1268" extrusionOk="0">
                  <a:moveTo>
                    <a:pt x="508" y="0"/>
                  </a:moveTo>
                  <a:lnTo>
                    <a:pt x="1" y="317"/>
                  </a:lnTo>
                  <a:lnTo>
                    <a:pt x="539" y="1267"/>
                  </a:lnTo>
                  <a:lnTo>
                    <a:pt x="1046" y="950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59" name="Google Shape;2659;p30"/>
            <p:cNvSpPr/>
            <p:nvPr/>
          </p:nvSpPr>
          <p:spPr>
            <a:xfrm>
              <a:off x="5908450" y="3802400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318" y="0"/>
                  </a:moveTo>
                  <a:lnTo>
                    <a:pt x="1" y="539"/>
                  </a:lnTo>
                  <a:lnTo>
                    <a:pt x="951" y="1077"/>
                  </a:lnTo>
                  <a:lnTo>
                    <a:pt x="1268" y="570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0" name="Google Shape;2660;p30"/>
            <p:cNvSpPr/>
            <p:nvPr/>
          </p:nvSpPr>
          <p:spPr>
            <a:xfrm>
              <a:off x="5904500" y="3830900"/>
              <a:ext cx="27725" cy="15075"/>
            </a:xfrm>
            <a:custGeom>
              <a:avLst/>
              <a:gdLst/>
              <a:ahLst/>
              <a:cxnLst/>
              <a:rect l="l" t="t" r="r" b="b"/>
              <a:pathLst>
                <a:path w="1109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109" y="602"/>
                  </a:lnTo>
                  <a:lnTo>
                    <a:pt x="110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1" name="Google Shape;2661;p30"/>
            <p:cNvSpPr/>
            <p:nvPr/>
          </p:nvSpPr>
          <p:spPr>
            <a:xfrm>
              <a:off x="5908450" y="3847525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951" y="0"/>
                  </a:moveTo>
                  <a:lnTo>
                    <a:pt x="1" y="539"/>
                  </a:lnTo>
                  <a:lnTo>
                    <a:pt x="318" y="1077"/>
                  </a:lnTo>
                  <a:lnTo>
                    <a:pt x="1268" y="507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2" name="Google Shape;2662;p30"/>
            <p:cNvSpPr/>
            <p:nvPr/>
          </p:nvSpPr>
          <p:spPr>
            <a:xfrm>
              <a:off x="5927450" y="3860975"/>
              <a:ext cx="26950" cy="31700"/>
            </a:xfrm>
            <a:custGeom>
              <a:avLst/>
              <a:gdLst/>
              <a:ahLst/>
              <a:cxnLst/>
              <a:rect l="l" t="t" r="r" b="b"/>
              <a:pathLst>
                <a:path w="1078" h="1268" extrusionOk="0">
                  <a:moveTo>
                    <a:pt x="571" y="1"/>
                  </a:moveTo>
                  <a:lnTo>
                    <a:pt x="1" y="983"/>
                  </a:lnTo>
                  <a:lnTo>
                    <a:pt x="539" y="1268"/>
                  </a:lnTo>
                  <a:lnTo>
                    <a:pt x="1078" y="318"/>
                  </a:lnTo>
                  <a:lnTo>
                    <a:pt x="57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3" name="Google Shape;2663;p30"/>
            <p:cNvSpPr/>
            <p:nvPr/>
          </p:nvSpPr>
          <p:spPr>
            <a:xfrm>
              <a:off x="5955975" y="3868900"/>
              <a:ext cx="15050" cy="27725"/>
            </a:xfrm>
            <a:custGeom>
              <a:avLst/>
              <a:gdLst/>
              <a:ahLst/>
              <a:cxnLst/>
              <a:rect l="l" t="t" r="r" b="b"/>
              <a:pathLst>
                <a:path w="602" h="1109" extrusionOk="0">
                  <a:moveTo>
                    <a:pt x="0" y="1"/>
                  </a:moveTo>
                  <a:lnTo>
                    <a:pt x="0" y="1109"/>
                  </a:lnTo>
                  <a:lnTo>
                    <a:pt x="602" y="1109"/>
                  </a:lnTo>
                  <a:lnTo>
                    <a:pt x="602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4" name="Google Shape;2664;p30"/>
            <p:cNvSpPr/>
            <p:nvPr/>
          </p:nvSpPr>
          <p:spPr>
            <a:xfrm>
              <a:off x="5972600" y="3861775"/>
              <a:ext cx="26925" cy="30900"/>
            </a:xfrm>
            <a:custGeom>
              <a:avLst/>
              <a:gdLst/>
              <a:ahLst/>
              <a:cxnLst/>
              <a:rect l="l" t="t" r="r" b="b"/>
              <a:pathLst>
                <a:path w="1077" h="1236" extrusionOk="0">
                  <a:moveTo>
                    <a:pt x="507" y="0"/>
                  </a:moveTo>
                  <a:lnTo>
                    <a:pt x="0" y="286"/>
                  </a:lnTo>
                  <a:lnTo>
                    <a:pt x="570" y="1236"/>
                  </a:lnTo>
                  <a:lnTo>
                    <a:pt x="1077" y="951"/>
                  </a:lnTo>
                  <a:lnTo>
                    <a:pt x="50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5" name="Google Shape;2665;p30"/>
            <p:cNvSpPr/>
            <p:nvPr/>
          </p:nvSpPr>
          <p:spPr>
            <a:xfrm>
              <a:off x="5986050" y="3846725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317" y="1"/>
                  </a:moveTo>
                  <a:lnTo>
                    <a:pt x="0" y="507"/>
                  </a:lnTo>
                  <a:lnTo>
                    <a:pt x="982" y="1078"/>
                  </a:lnTo>
                  <a:lnTo>
                    <a:pt x="1267" y="571"/>
                  </a:lnTo>
                  <a:lnTo>
                    <a:pt x="317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6" name="Google Shape;2666;p30"/>
            <p:cNvSpPr/>
            <p:nvPr/>
          </p:nvSpPr>
          <p:spPr>
            <a:xfrm>
              <a:off x="5993975" y="3830900"/>
              <a:ext cx="27725" cy="14275"/>
            </a:xfrm>
            <a:custGeom>
              <a:avLst/>
              <a:gdLst/>
              <a:ahLst/>
              <a:cxnLst/>
              <a:rect l="l" t="t" r="r" b="b"/>
              <a:pathLst>
                <a:path w="1109" h="571" extrusionOk="0">
                  <a:moveTo>
                    <a:pt x="0" y="0"/>
                  </a:moveTo>
                  <a:lnTo>
                    <a:pt x="0" y="570"/>
                  </a:lnTo>
                  <a:lnTo>
                    <a:pt x="1109" y="570"/>
                  </a:lnTo>
                  <a:lnTo>
                    <a:pt x="110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7" name="Google Shape;2667;p30"/>
            <p:cNvSpPr/>
            <p:nvPr/>
          </p:nvSpPr>
          <p:spPr>
            <a:xfrm>
              <a:off x="5986050" y="3801600"/>
              <a:ext cx="31700" cy="26950"/>
            </a:xfrm>
            <a:custGeom>
              <a:avLst/>
              <a:gdLst/>
              <a:ahLst/>
              <a:cxnLst/>
              <a:rect l="l" t="t" r="r" b="b"/>
              <a:pathLst>
                <a:path w="1268" h="1078" extrusionOk="0">
                  <a:moveTo>
                    <a:pt x="982" y="1"/>
                  </a:moveTo>
                  <a:lnTo>
                    <a:pt x="0" y="571"/>
                  </a:lnTo>
                  <a:lnTo>
                    <a:pt x="317" y="1077"/>
                  </a:lnTo>
                  <a:lnTo>
                    <a:pt x="1267" y="539"/>
                  </a:lnTo>
                  <a:lnTo>
                    <a:pt x="982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68" name="Google Shape;2668;p30"/>
            <p:cNvSpPr/>
            <p:nvPr/>
          </p:nvSpPr>
          <p:spPr>
            <a:xfrm>
              <a:off x="5971800" y="3783400"/>
              <a:ext cx="26950" cy="31700"/>
            </a:xfrm>
            <a:custGeom>
              <a:avLst/>
              <a:gdLst/>
              <a:ahLst/>
              <a:cxnLst/>
              <a:rect l="l" t="t" r="r" b="b"/>
              <a:pathLst>
                <a:path w="1078" h="1268" extrusionOk="0">
                  <a:moveTo>
                    <a:pt x="570" y="0"/>
                  </a:moveTo>
                  <a:lnTo>
                    <a:pt x="0" y="950"/>
                  </a:lnTo>
                  <a:lnTo>
                    <a:pt x="539" y="1267"/>
                  </a:lnTo>
                  <a:lnTo>
                    <a:pt x="1077" y="317"/>
                  </a:lnTo>
                  <a:lnTo>
                    <a:pt x="570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0" name="Google Shape;2670;p30"/>
            <p:cNvSpPr/>
            <p:nvPr/>
          </p:nvSpPr>
          <p:spPr>
            <a:xfrm>
              <a:off x="6096100" y="3860200"/>
              <a:ext cx="10325" cy="19025"/>
            </a:xfrm>
            <a:custGeom>
              <a:avLst/>
              <a:gdLst/>
              <a:ahLst/>
              <a:cxnLst/>
              <a:rect l="l" t="t" r="r" b="b"/>
              <a:pathLst>
                <a:path w="413" h="761" extrusionOk="0">
                  <a:moveTo>
                    <a:pt x="0" y="0"/>
                  </a:moveTo>
                  <a:lnTo>
                    <a:pt x="0" y="760"/>
                  </a:lnTo>
                  <a:lnTo>
                    <a:pt x="412" y="76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1" name="Google Shape;2671;p30"/>
            <p:cNvSpPr/>
            <p:nvPr/>
          </p:nvSpPr>
          <p:spPr>
            <a:xfrm>
              <a:off x="6077100" y="3863350"/>
              <a:ext cx="18225" cy="20625"/>
            </a:xfrm>
            <a:custGeom>
              <a:avLst/>
              <a:gdLst/>
              <a:ahLst/>
              <a:cxnLst/>
              <a:rect l="l" t="t" r="r" b="b"/>
              <a:pathLst>
                <a:path w="729" h="825" extrusionOk="0">
                  <a:moveTo>
                    <a:pt x="349" y="1"/>
                  </a:moveTo>
                  <a:lnTo>
                    <a:pt x="0" y="191"/>
                  </a:lnTo>
                  <a:lnTo>
                    <a:pt x="380" y="824"/>
                  </a:lnTo>
                  <a:lnTo>
                    <a:pt x="729" y="634"/>
                  </a:lnTo>
                  <a:lnTo>
                    <a:pt x="34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2" name="Google Shape;2672;p30"/>
            <p:cNvSpPr/>
            <p:nvPr/>
          </p:nvSpPr>
          <p:spPr>
            <a:xfrm>
              <a:off x="6064425" y="3876025"/>
              <a:ext cx="21400" cy="18225"/>
            </a:xfrm>
            <a:custGeom>
              <a:avLst/>
              <a:gdLst/>
              <a:ahLst/>
              <a:cxnLst/>
              <a:rect l="l" t="t" r="r" b="b"/>
              <a:pathLst>
                <a:path w="856" h="729" extrusionOk="0">
                  <a:moveTo>
                    <a:pt x="191" y="1"/>
                  </a:moveTo>
                  <a:lnTo>
                    <a:pt x="1" y="349"/>
                  </a:lnTo>
                  <a:lnTo>
                    <a:pt x="634" y="729"/>
                  </a:lnTo>
                  <a:lnTo>
                    <a:pt x="856" y="381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3" name="Google Shape;2673;p30"/>
            <p:cNvSpPr/>
            <p:nvPr/>
          </p:nvSpPr>
          <p:spPr>
            <a:xfrm>
              <a:off x="6061275" y="3895025"/>
              <a:ext cx="19025" cy="10325"/>
            </a:xfrm>
            <a:custGeom>
              <a:avLst/>
              <a:gdLst/>
              <a:ahLst/>
              <a:cxnLst/>
              <a:rect l="l" t="t" r="r" b="b"/>
              <a:pathLst>
                <a:path w="761" h="413" extrusionOk="0">
                  <a:moveTo>
                    <a:pt x="0" y="1"/>
                  </a:moveTo>
                  <a:lnTo>
                    <a:pt x="0" y="412"/>
                  </a:lnTo>
                  <a:lnTo>
                    <a:pt x="760" y="412"/>
                  </a:lnTo>
                  <a:lnTo>
                    <a:pt x="76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4" name="Google Shape;2674;p30"/>
            <p:cNvSpPr/>
            <p:nvPr/>
          </p:nvSpPr>
          <p:spPr>
            <a:xfrm>
              <a:off x="6064425" y="3906100"/>
              <a:ext cx="21400" cy="18250"/>
            </a:xfrm>
            <a:custGeom>
              <a:avLst/>
              <a:gdLst/>
              <a:ahLst/>
              <a:cxnLst/>
              <a:rect l="l" t="t" r="r" b="b"/>
              <a:pathLst>
                <a:path w="856" h="730" extrusionOk="0">
                  <a:moveTo>
                    <a:pt x="666" y="1"/>
                  </a:moveTo>
                  <a:lnTo>
                    <a:pt x="1" y="381"/>
                  </a:lnTo>
                  <a:lnTo>
                    <a:pt x="222" y="729"/>
                  </a:lnTo>
                  <a:lnTo>
                    <a:pt x="856" y="381"/>
                  </a:lnTo>
                  <a:lnTo>
                    <a:pt x="666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5" name="Google Shape;2675;p30"/>
            <p:cNvSpPr/>
            <p:nvPr/>
          </p:nvSpPr>
          <p:spPr>
            <a:xfrm>
              <a:off x="6077100" y="3915600"/>
              <a:ext cx="18225" cy="21425"/>
            </a:xfrm>
            <a:custGeom>
              <a:avLst/>
              <a:gdLst/>
              <a:ahLst/>
              <a:cxnLst/>
              <a:rect l="l" t="t" r="r" b="b"/>
              <a:pathLst>
                <a:path w="729" h="857" extrusionOk="0">
                  <a:moveTo>
                    <a:pt x="380" y="1"/>
                  </a:moveTo>
                  <a:lnTo>
                    <a:pt x="0" y="666"/>
                  </a:lnTo>
                  <a:lnTo>
                    <a:pt x="349" y="856"/>
                  </a:lnTo>
                  <a:lnTo>
                    <a:pt x="729" y="223"/>
                  </a:lnTo>
                  <a:lnTo>
                    <a:pt x="38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6" name="Google Shape;2676;p30"/>
            <p:cNvSpPr/>
            <p:nvPr/>
          </p:nvSpPr>
          <p:spPr>
            <a:xfrm>
              <a:off x="6096900" y="3921150"/>
              <a:ext cx="9525" cy="19025"/>
            </a:xfrm>
            <a:custGeom>
              <a:avLst/>
              <a:gdLst/>
              <a:ahLst/>
              <a:cxnLst/>
              <a:rect l="l" t="t" r="r" b="b"/>
              <a:pathLst>
                <a:path w="381" h="761" extrusionOk="0">
                  <a:moveTo>
                    <a:pt x="0" y="1"/>
                  </a:moveTo>
                  <a:lnTo>
                    <a:pt x="0" y="761"/>
                  </a:lnTo>
                  <a:lnTo>
                    <a:pt x="380" y="761"/>
                  </a:lnTo>
                  <a:lnTo>
                    <a:pt x="380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7" name="Google Shape;2677;p30"/>
            <p:cNvSpPr/>
            <p:nvPr/>
          </p:nvSpPr>
          <p:spPr>
            <a:xfrm>
              <a:off x="6107175" y="3915600"/>
              <a:ext cx="18250" cy="21425"/>
            </a:xfrm>
            <a:custGeom>
              <a:avLst/>
              <a:gdLst/>
              <a:ahLst/>
              <a:cxnLst/>
              <a:rect l="l" t="t" r="r" b="b"/>
              <a:pathLst>
                <a:path w="730" h="857" extrusionOk="0">
                  <a:moveTo>
                    <a:pt x="349" y="1"/>
                  </a:moveTo>
                  <a:lnTo>
                    <a:pt x="1" y="223"/>
                  </a:lnTo>
                  <a:lnTo>
                    <a:pt x="381" y="856"/>
                  </a:lnTo>
                  <a:lnTo>
                    <a:pt x="729" y="666"/>
                  </a:lnTo>
                  <a:lnTo>
                    <a:pt x="34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8" name="Google Shape;2678;p30"/>
            <p:cNvSpPr/>
            <p:nvPr/>
          </p:nvSpPr>
          <p:spPr>
            <a:xfrm>
              <a:off x="6117475" y="3906100"/>
              <a:ext cx="21400" cy="18250"/>
            </a:xfrm>
            <a:custGeom>
              <a:avLst/>
              <a:gdLst/>
              <a:ahLst/>
              <a:cxnLst/>
              <a:rect l="l" t="t" r="r" b="b"/>
              <a:pathLst>
                <a:path w="856" h="730" extrusionOk="0">
                  <a:moveTo>
                    <a:pt x="191" y="1"/>
                  </a:moveTo>
                  <a:lnTo>
                    <a:pt x="1" y="349"/>
                  </a:lnTo>
                  <a:lnTo>
                    <a:pt x="634" y="729"/>
                  </a:lnTo>
                  <a:lnTo>
                    <a:pt x="856" y="381"/>
                  </a:lnTo>
                  <a:lnTo>
                    <a:pt x="19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79" name="Google Shape;2679;p30"/>
            <p:cNvSpPr/>
            <p:nvPr/>
          </p:nvSpPr>
          <p:spPr>
            <a:xfrm>
              <a:off x="6122225" y="3895025"/>
              <a:ext cx="19025" cy="10325"/>
            </a:xfrm>
            <a:custGeom>
              <a:avLst/>
              <a:gdLst/>
              <a:ahLst/>
              <a:cxnLst/>
              <a:rect l="l" t="t" r="r" b="b"/>
              <a:pathLst>
                <a:path w="761" h="413" extrusionOk="0">
                  <a:moveTo>
                    <a:pt x="1" y="1"/>
                  </a:moveTo>
                  <a:lnTo>
                    <a:pt x="1" y="412"/>
                  </a:lnTo>
                  <a:lnTo>
                    <a:pt x="761" y="412"/>
                  </a:lnTo>
                  <a:lnTo>
                    <a:pt x="761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0" name="Google Shape;2680;p30"/>
            <p:cNvSpPr/>
            <p:nvPr/>
          </p:nvSpPr>
          <p:spPr>
            <a:xfrm>
              <a:off x="6116675" y="3876025"/>
              <a:ext cx="21400" cy="17450"/>
            </a:xfrm>
            <a:custGeom>
              <a:avLst/>
              <a:gdLst/>
              <a:ahLst/>
              <a:cxnLst/>
              <a:rect l="l" t="t" r="r" b="b"/>
              <a:pathLst>
                <a:path w="856" h="698" extrusionOk="0">
                  <a:moveTo>
                    <a:pt x="666" y="1"/>
                  </a:moveTo>
                  <a:lnTo>
                    <a:pt x="1" y="349"/>
                  </a:lnTo>
                  <a:lnTo>
                    <a:pt x="223" y="697"/>
                  </a:lnTo>
                  <a:lnTo>
                    <a:pt x="856" y="349"/>
                  </a:lnTo>
                  <a:lnTo>
                    <a:pt x="666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1" name="Google Shape;2681;p30"/>
            <p:cNvSpPr/>
            <p:nvPr/>
          </p:nvSpPr>
          <p:spPr>
            <a:xfrm>
              <a:off x="6107175" y="3862575"/>
              <a:ext cx="18250" cy="21400"/>
            </a:xfrm>
            <a:custGeom>
              <a:avLst/>
              <a:gdLst/>
              <a:ahLst/>
              <a:cxnLst/>
              <a:rect l="l" t="t" r="r" b="b"/>
              <a:pathLst>
                <a:path w="730" h="856" extrusionOk="0">
                  <a:moveTo>
                    <a:pt x="381" y="0"/>
                  </a:moveTo>
                  <a:lnTo>
                    <a:pt x="1" y="665"/>
                  </a:lnTo>
                  <a:lnTo>
                    <a:pt x="349" y="855"/>
                  </a:lnTo>
                  <a:lnTo>
                    <a:pt x="729" y="222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2" name="Google Shape;2682;p30"/>
            <p:cNvSpPr/>
            <p:nvPr/>
          </p:nvSpPr>
          <p:spPr>
            <a:xfrm>
              <a:off x="5973375" y="3924325"/>
              <a:ext cx="50700" cy="51475"/>
            </a:xfrm>
            <a:custGeom>
              <a:avLst/>
              <a:gdLst/>
              <a:ahLst/>
              <a:cxnLst/>
              <a:rect l="l" t="t" r="r" b="b"/>
              <a:pathLst>
                <a:path w="2028" h="2059" extrusionOk="0">
                  <a:moveTo>
                    <a:pt x="1014" y="570"/>
                  </a:moveTo>
                  <a:cubicBezTo>
                    <a:pt x="1267" y="570"/>
                    <a:pt x="1458" y="792"/>
                    <a:pt x="1458" y="1014"/>
                  </a:cubicBezTo>
                  <a:cubicBezTo>
                    <a:pt x="1458" y="1267"/>
                    <a:pt x="1267" y="1489"/>
                    <a:pt x="1014" y="1489"/>
                  </a:cubicBezTo>
                  <a:cubicBezTo>
                    <a:pt x="761" y="1489"/>
                    <a:pt x="571" y="1267"/>
                    <a:pt x="571" y="1014"/>
                  </a:cubicBezTo>
                  <a:cubicBezTo>
                    <a:pt x="571" y="792"/>
                    <a:pt x="761" y="570"/>
                    <a:pt x="1014" y="570"/>
                  </a:cubicBezTo>
                  <a:close/>
                  <a:moveTo>
                    <a:pt x="1014" y="0"/>
                  </a:moveTo>
                  <a:cubicBezTo>
                    <a:pt x="444" y="0"/>
                    <a:pt x="1" y="475"/>
                    <a:pt x="1" y="1014"/>
                  </a:cubicBezTo>
                  <a:cubicBezTo>
                    <a:pt x="1" y="1584"/>
                    <a:pt x="444" y="2059"/>
                    <a:pt x="1014" y="2059"/>
                  </a:cubicBezTo>
                  <a:cubicBezTo>
                    <a:pt x="1584" y="2059"/>
                    <a:pt x="2028" y="1584"/>
                    <a:pt x="2028" y="1014"/>
                  </a:cubicBezTo>
                  <a:cubicBezTo>
                    <a:pt x="2028" y="475"/>
                    <a:pt x="1584" y="0"/>
                    <a:pt x="1014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3" name="Google Shape;2683;p30"/>
            <p:cNvSpPr/>
            <p:nvPr/>
          </p:nvSpPr>
          <p:spPr>
            <a:xfrm>
              <a:off x="5994750" y="3917975"/>
              <a:ext cx="7950" cy="15075"/>
            </a:xfrm>
            <a:custGeom>
              <a:avLst/>
              <a:gdLst/>
              <a:ahLst/>
              <a:cxnLst/>
              <a:rect l="l" t="t" r="r" b="b"/>
              <a:pathLst>
                <a:path w="318" h="603" extrusionOk="0">
                  <a:moveTo>
                    <a:pt x="1" y="1"/>
                  </a:moveTo>
                  <a:lnTo>
                    <a:pt x="1" y="603"/>
                  </a:lnTo>
                  <a:lnTo>
                    <a:pt x="317" y="603"/>
                  </a:lnTo>
                  <a:lnTo>
                    <a:pt x="317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4" name="Google Shape;2684;p30"/>
            <p:cNvSpPr/>
            <p:nvPr/>
          </p:nvSpPr>
          <p:spPr>
            <a:xfrm>
              <a:off x="5978925" y="3920350"/>
              <a:ext cx="15075" cy="17450"/>
            </a:xfrm>
            <a:custGeom>
              <a:avLst/>
              <a:gdLst/>
              <a:ahLst/>
              <a:cxnLst/>
              <a:rect l="l" t="t" r="r" b="b"/>
              <a:pathLst>
                <a:path w="603" h="698" extrusionOk="0">
                  <a:moveTo>
                    <a:pt x="285" y="1"/>
                  </a:moveTo>
                  <a:lnTo>
                    <a:pt x="0" y="159"/>
                  </a:lnTo>
                  <a:lnTo>
                    <a:pt x="317" y="698"/>
                  </a:lnTo>
                  <a:lnTo>
                    <a:pt x="602" y="508"/>
                  </a:lnTo>
                  <a:lnTo>
                    <a:pt x="285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5" name="Google Shape;2685;p30"/>
            <p:cNvSpPr/>
            <p:nvPr/>
          </p:nvSpPr>
          <p:spPr>
            <a:xfrm>
              <a:off x="5968625" y="3929875"/>
              <a:ext cx="17450" cy="15050"/>
            </a:xfrm>
            <a:custGeom>
              <a:avLst/>
              <a:gdLst/>
              <a:ahLst/>
              <a:cxnLst/>
              <a:rect l="l" t="t" r="r" b="b"/>
              <a:pathLst>
                <a:path w="698" h="602" extrusionOk="0">
                  <a:moveTo>
                    <a:pt x="159" y="0"/>
                  </a:moveTo>
                  <a:lnTo>
                    <a:pt x="1" y="285"/>
                  </a:lnTo>
                  <a:lnTo>
                    <a:pt x="539" y="602"/>
                  </a:lnTo>
                  <a:lnTo>
                    <a:pt x="697" y="317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6" name="Google Shape;2686;p30"/>
            <p:cNvSpPr/>
            <p:nvPr/>
          </p:nvSpPr>
          <p:spPr>
            <a:xfrm>
              <a:off x="5966250" y="3945700"/>
              <a:ext cx="15875" cy="8725"/>
            </a:xfrm>
            <a:custGeom>
              <a:avLst/>
              <a:gdLst/>
              <a:ahLst/>
              <a:cxnLst/>
              <a:rect l="l" t="t" r="r" b="b"/>
              <a:pathLst>
                <a:path w="635" h="349" extrusionOk="0">
                  <a:moveTo>
                    <a:pt x="1" y="0"/>
                  </a:moveTo>
                  <a:lnTo>
                    <a:pt x="1" y="349"/>
                  </a:lnTo>
                  <a:lnTo>
                    <a:pt x="634" y="349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8" name="Google Shape;2688;p30"/>
            <p:cNvSpPr/>
            <p:nvPr/>
          </p:nvSpPr>
          <p:spPr>
            <a:xfrm>
              <a:off x="5978925" y="3963125"/>
              <a:ext cx="15075" cy="17425"/>
            </a:xfrm>
            <a:custGeom>
              <a:avLst/>
              <a:gdLst/>
              <a:ahLst/>
              <a:cxnLst/>
              <a:rect l="l" t="t" r="r" b="b"/>
              <a:pathLst>
                <a:path w="603" h="697" extrusionOk="0">
                  <a:moveTo>
                    <a:pt x="317" y="0"/>
                  </a:moveTo>
                  <a:lnTo>
                    <a:pt x="0" y="507"/>
                  </a:lnTo>
                  <a:lnTo>
                    <a:pt x="285" y="697"/>
                  </a:lnTo>
                  <a:lnTo>
                    <a:pt x="602" y="158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89" name="Google Shape;2689;p30"/>
            <p:cNvSpPr/>
            <p:nvPr/>
          </p:nvSpPr>
          <p:spPr>
            <a:xfrm>
              <a:off x="5994750" y="3967075"/>
              <a:ext cx="8750" cy="15075"/>
            </a:xfrm>
            <a:custGeom>
              <a:avLst/>
              <a:gdLst/>
              <a:ahLst/>
              <a:cxnLst/>
              <a:rect l="l" t="t" r="r" b="b"/>
              <a:pathLst>
                <a:path w="350" h="603" extrusionOk="0">
                  <a:moveTo>
                    <a:pt x="1" y="0"/>
                  </a:moveTo>
                  <a:lnTo>
                    <a:pt x="1" y="602"/>
                  </a:lnTo>
                  <a:lnTo>
                    <a:pt x="349" y="602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0" name="Google Shape;2690;p30"/>
            <p:cNvSpPr/>
            <p:nvPr/>
          </p:nvSpPr>
          <p:spPr>
            <a:xfrm>
              <a:off x="6004250" y="3962325"/>
              <a:ext cx="14275" cy="17450"/>
            </a:xfrm>
            <a:custGeom>
              <a:avLst/>
              <a:gdLst/>
              <a:ahLst/>
              <a:cxnLst/>
              <a:rect l="l" t="t" r="r" b="b"/>
              <a:pathLst>
                <a:path w="571" h="698" extrusionOk="0">
                  <a:moveTo>
                    <a:pt x="286" y="0"/>
                  </a:moveTo>
                  <a:lnTo>
                    <a:pt x="1" y="159"/>
                  </a:lnTo>
                  <a:lnTo>
                    <a:pt x="286" y="697"/>
                  </a:lnTo>
                  <a:lnTo>
                    <a:pt x="571" y="539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1" name="Google Shape;2691;p30"/>
            <p:cNvSpPr/>
            <p:nvPr/>
          </p:nvSpPr>
          <p:spPr>
            <a:xfrm>
              <a:off x="6012175" y="3954400"/>
              <a:ext cx="16650" cy="15075"/>
            </a:xfrm>
            <a:custGeom>
              <a:avLst/>
              <a:gdLst/>
              <a:ahLst/>
              <a:cxnLst/>
              <a:rect l="l" t="t" r="r" b="b"/>
              <a:pathLst>
                <a:path w="666" h="603" extrusionOk="0">
                  <a:moveTo>
                    <a:pt x="159" y="1"/>
                  </a:moveTo>
                  <a:lnTo>
                    <a:pt x="1" y="286"/>
                  </a:lnTo>
                  <a:lnTo>
                    <a:pt x="507" y="602"/>
                  </a:lnTo>
                  <a:lnTo>
                    <a:pt x="666" y="317"/>
                  </a:lnTo>
                  <a:lnTo>
                    <a:pt x="159" y="1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2" name="Google Shape;2692;p30"/>
            <p:cNvSpPr/>
            <p:nvPr/>
          </p:nvSpPr>
          <p:spPr>
            <a:xfrm>
              <a:off x="6016125" y="3945700"/>
              <a:ext cx="15075" cy="7950"/>
            </a:xfrm>
            <a:custGeom>
              <a:avLst/>
              <a:gdLst/>
              <a:ahLst/>
              <a:cxnLst/>
              <a:rect l="l" t="t" r="r" b="b"/>
              <a:pathLst>
                <a:path w="603" h="318" extrusionOk="0">
                  <a:moveTo>
                    <a:pt x="1" y="0"/>
                  </a:moveTo>
                  <a:lnTo>
                    <a:pt x="1" y="317"/>
                  </a:lnTo>
                  <a:lnTo>
                    <a:pt x="603" y="317"/>
                  </a:lnTo>
                  <a:lnTo>
                    <a:pt x="603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3" name="Google Shape;2693;p30"/>
            <p:cNvSpPr/>
            <p:nvPr/>
          </p:nvSpPr>
          <p:spPr>
            <a:xfrm>
              <a:off x="6011375" y="3929875"/>
              <a:ext cx="17450" cy="15050"/>
            </a:xfrm>
            <a:custGeom>
              <a:avLst/>
              <a:gdLst/>
              <a:ahLst/>
              <a:cxnLst/>
              <a:rect l="l" t="t" r="r" b="b"/>
              <a:pathLst>
                <a:path w="698" h="602" extrusionOk="0">
                  <a:moveTo>
                    <a:pt x="539" y="0"/>
                  </a:moveTo>
                  <a:lnTo>
                    <a:pt x="1" y="317"/>
                  </a:lnTo>
                  <a:lnTo>
                    <a:pt x="159" y="602"/>
                  </a:lnTo>
                  <a:lnTo>
                    <a:pt x="698" y="285"/>
                  </a:lnTo>
                  <a:lnTo>
                    <a:pt x="539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4" name="Google Shape;2694;p30"/>
            <p:cNvSpPr/>
            <p:nvPr/>
          </p:nvSpPr>
          <p:spPr>
            <a:xfrm>
              <a:off x="6003475" y="3919575"/>
              <a:ext cx="15050" cy="17450"/>
            </a:xfrm>
            <a:custGeom>
              <a:avLst/>
              <a:gdLst/>
              <a:ahLst/>
              <a:cxnLst/>
              <a:rect l="l" t="t" r="r" b="b"/>
              <a:pathLst>
                <a:path w="602" h="698" extrusionOk="0">
                  <a:moveTo>
                    <a:pt x="317" y="0"/>
                  </a:moveTo>
                  <a:lnTo>
                    <a:pt x="0" y="539"/>
                  </a:lnTo>
                  <a:lnTo>
                    <a:pt x="285" y="697"/>
                  </a:lnTo>
                  <a:lnTo>
                    <a:pt x="602" y="159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6" name="Google Shape;2696;p30"/>
            <p:cNvSpPr/>
            <p:nvPr/>
          </p:nvSpPr>
          <p:spPr>
            <a:xfrm>
              <a:off x="4247425" y="2196000"/>
              <a:ext cx="453675" cy="335700"/>
            </a:xfrm>
            <a:custGeom>
              <a:avLst/>
              <a:gdLst/>
              <a:ahLst/>
              <a:cxnLst/>
              <a:rect l="l" t="t" r="r" b="b"/>
              <a:pathLst>
                <a:path w="18147" h="13428" extrusionOk="0">
                  <a:moveTo>
                    <a:pt x="0" y="0"/>
                  </a:moveTo>
                  <a:lnTo>
                    <a:pt x="0" y="12636"/>
                  </a:lnTo>
                  <a:lnTo>
                    <a:pt x="8202" y="12636"/>
                  </a:lnTo>
                  <a:cubicBezTo>
                    <a:pt x="8202" y="13079"/>
                    <a:pt x="8551" y="13428"/>
                    <a:pt x="8994" y="13428"/>
                  </a:cubicBezTo>
                  <a:lnTo>
                    <a:pt x="9153" y="13428"/>
                  </a:lnTo>
                  <a:cubicBezTo>
                    <a:pt x="9596" y="13428"/>
                    <a:pt x="9944" y="13079"/>
                    <a:pt x="9944" y="12636"/>
                  </a:cubicBezTo>
                  <a:lnTo>
                    <a:pt x="18147" y="12636"/>
                  </a:lnTo>
                  <a:lnTo>
                    <a:pt x="18147" y="0"/>
                  </a:ln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7" name="Google Shape;2697;p30"/>
            <p:cNvSpPr/>
            <p:nvPr/>
          </p:nvSpPr>
          <p:spPr>
            <a:xfrm>
              <a:off x="4267200" y="2173775"/>
              <a:ext cx="209050" cy="334175"/>
            </a:xfrm>
            <a:custGeom>
              <a:avLst/>
              <a:gdLst/>
              <a:ahLst/>
              <a:cxnLst/>
              <a:rect l="l" t="t" r="r" b="b"/>
              <a:pathLst>
                <a:path w="8362" h="13367" extrusionOk="0">
                  <a:moveTo>
                    <a:pt x="990" y="0"/>
                  </a:moveTo>
                  <a:cubicBezTo>
                    <a:pt x="921" y="0"/>
                    <a:pt x="855" y="1"/>
                    <a:pt x="793" y="2"/>
                  </a:cubicBezTo>
                  <a:cubicBezTo>
                    <a:pt x="318" y="34"/>
                    <a:pt x="33" y="66"/>
                    <a:pt x="33" y="66"/>
                  </a:cubicBezTo>
                  <a:lnTo>
                    <a:pt x="1" y="11277"/>
                  </a:lnTo>
                  <a:cubicBezTo>
                    <a:pt x="376" y="11246"/>
                    <a:pt x="743" y="11232"/>
                    <a:pt x="1100" y="11232"/>
                  </a:cubicBezTo>
                  <a:cubicBezTo>
                    <a:pt x="5169" y="11232"/>
                    <a:pt x="7980" y="13073"/>
                    <a:pt x="8330" y="13335"/>
                  </a:cubicBezTo>
                  <a:cubicBezTo>
                    <a:pt x="8362" y="13335"/>
                    <a:pt x="8362" y="13335"/>
                    <a:pt x="8362" y="13367"/>
                  </a:cubicBezTo>
                  <a:lnTo>
                    <a:pt x="8362" y="13335"/>
                  </a:lnTo>
                  <a:lnTo>
                    <a:pt x="8267" y="12227"/>
                  </a:lnTo>
                  <a:lnTo>
                    <a:pt x="7570" y="3264"/>
                  </a:lnTo>
                  <a:lnTo>
                    <a:pt x="7570" y="3169"/>
                  </a:lnTo>
                  <a:cubicBezTo>
                    <a:pt x="7411" y="2979"/>
                    <a:pt x="7221" y="2758"/>
                    <a:pt x="7063" y="2599"/>
                  </a:cubicBezTo>
                  <a:cubicBezTo>
                    <a:pt x="4983" y="338"/>
                    <a:pt x="2358" y="0"/>
                    <a:pt x="990" y="0"/>
                  </a:cubicBezTo>
                  <a:close/>
                </a:path>
              </a:pathLst>
            </a:custGeom>
            <a:solidFill>
              <a:srgbClr val="CECEC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8" name="Google Shape;2698;p30"/>
            <p:cNvSpPr/>
            <p:nvPr/>
          </p:nvSpPr>
          <p:spPr>
            <a:xfrm>
              <a:off x="4287000" y="2151850"/>
              <a:ext cx="189250" cy="356100"/>
            </a:xfrm>
            <a:custGeom>
              <a:avLst/>
              <a:gdLst/>
              <a:ahLst/>
              <a:cxnLst/>
              <a:rect l="l" t="t" r="r" b="b"/>
              <a:pathLst>
                <a:path w="7570" h="14244" extrusionOk="0">
                  <a:moveTo>
                    <a:pt x="916" y="1"/>
                  </a:moveTo>
                  <a:cubicBezTo>
                    <a:pt x="349" y="1"/>
                    <a:pt x="1" y="56"/>
                    <a:pt x="1" y="56"/>
                  </a:cubicBezTo>
                  <a:lnTo>
                    <a:pt x="1" y="11172"/>
                  </a:lnTo>
                  <a:cubicBezTo>
                    <a:pt x="278" y="11149"/>
                    <a:pt x="549" y="11138"/>
                    <a:pt x="812" y="11138"/>
                  </a:cubicBezTo>
                  <a:cubicBezTo>
                    <a:pt x="4869" y="11138"/>
                    <a:pt x="7181" y="13734"/>
                    <a:pt x="7538" y="14180"/>
                  </a:cubicBezTo>
                  <a:cubicBezTo>
                    <a:pt x="7570" y="14212"/>
                    <a:pt x="7570" y="14212"/>
                    <a:pt x="7570" y="14244"/>
                  </a:cubicBezTo>
                  <a:lnTo>
                    <a:pt x="7570" y="3160"/>
                  </a:lnTo>
                  <a:cubicBezTo>
                    <a:pt x="5413" y="383"/>
                    <a:pt x="2408" y="1"/>
                    <a:pt x="916" y="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99" name="Google Shape;2699;p30"/>
            <p:cNvSpPr/>
            <p:nvPr/>
          </p:nvSpPr>
          <p:spPr>
            <a:xfrm>
              <a:off x="4309175" y="2199150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64" y="1"/>
                    <a:pt x="0" y="32"/>
                    <a:pt x="0" y="96"/>
                  </a:cubicBezTo>
                  <a:cubicBezTo>
                    <a:pt x="0" y="127"/>
                    <a:pt x="32" y="191"/>
                    <a:pt x="95" y="191"/>
                  </a:cubicBezTo>
                  <a:cubicBezTo>
                    <a:pt x="127" y="191"/>
                    <a:pt x="4339" y="444"/>
                    <a:pt x="5827" y="2218"/>
                  </a:cubicBezTo>
                  <a:cubicBezTo>
                    <a:pt x="5827" y="2249"/>
                    <a:pt x="5859" y="2249"/>
                    <a:pt x="5891" y="2249"/>
                  </a:cubicBezTo>
                  <a:cubicBezTo>
                    <a:pt x="5891" y="2249"/>
                    <a:pt x="5922" y="2249"/>
                    <a:pt x="5954" y="2218"/>
                  </a:cubicBezTo>
                  <a:cubicBezTo>
                    <a:pt x="5986" y="2186"/>
                    <a:pt x="5986" y="2123"/>
                    <a:pt x="5954" y="2091"/>
                  </a:cubicBezTo>
                  <a:cubicBezTo>
                    <a:pt x="5321" y="1331"/>
                    <a:pt x="4117" y="729"/>
                    <a:pt x="2439" y="349"/>
                  </a:cubicBezTo>
                  <a:cubicBezTo>
                    <a:pt x="1204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0" name="Google Shape;2700;p30"/>
            <p:cNvSpPr/>
            <p:nvPr/>
          </p:nvSpPr>
          <p:spPr>
            <a:xfrm>
              <a:off x="4309175" y="2235575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64" y="1"/>
                    <a:pt x="0" y="32"/>
                    <a:pt x="0" y="96"/>
                  </a:cubicBezTo>
                  <a:cubicBezTo>
                    <a:pt x="0" y="127"/>
                    <a:pt x="32" y="159"/>
                    <a:pt x="95" y="159"/>
                  </a:cubicBezTo>
                  <a:cubicBezTo>
                    <a:pt x="127" y="159"/>
                    <a:pt x="4339" y="412"/>
                    <a:pt x="5827" y="2217"/>
                  </a:cubicBezTo>
                  <a:cubicBezTo>
                    <a:pt x="5827" y="2217"/>
                    <a:pt x="5859" y="2249"/>
                    <a:pt x="5891" y="2249"/>
                  </a:cubicBezTo>
                  <a:cubicBezTo>
                    <a:pt x="5891" y="2249"/>
                    <a:pt x="5922" y="2217"/>
                    <a:pt x="5954" y="2217"/>
                  </a:cubicBezTo>
                  <a:cubicBezTo>
                    <a:pt x="5986" y="2186"/>
                    <a:pt x="5986" y="2122"/>
                    <a:pt x="5954" y="2091"/>
                  </a:cubicBezTo>
                  <a:cubicBezTo>
                    <a:pt x="5321" y="1299"/>
                    <a:pt x="4117" y="729"/>
                    <a:pt x="2439" y="349"/>
                  </a:cubicBezTo>
                  <a:cubicBezTo>
                    <a:pt x="1204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1" name="Google Shape;2701;p30"/>
            <p:cNvSpPr/>
            <p:nvPr/>
          </p:nvSpPr>
          <p:spPr>
            <a:xfrm>
              <a:off x="4312350" y="226882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95" y="1"/>
                  </a:moveTo>
                  <a:cubicBezTo>
                    <a:pt x="32" y="1"/>
                    <a:pt x="0" y="32"/>
                    <a:pt x="0" y="64"/>
                  </a:cubicBezTo>
                  <a:cubicBezTo>
                    <a:pt x="0" y="127"/>
                    <a:pt x="32" y="159"/>
                    <a:pt x="63" y="159"/>
                  </a:cubicBezTo>
                  <a:cubicBezTo>
                    <a:pt x="127" y="159"/>
                    <a:pt x="4339" y="412"/>
                    <a:pt x="5795" y="2186"/>
                  </a:cubicBezTo>
                  <a:cubicBezTo>
                    <a:pt x="5827" y="2218"/>
                    <a:pt x="5859" y="2218"/>
                    <a:pt x="5859" y="2218"/>
                  </a:cubicBezTo>
                  <a:lnTo>
                    <a:pt x="5922" y="2218"/>
                  </a:lnTo>
                  <a:cubicBezTo>
                    <a:pt x="5954" y="2186"/>
                    <a:pt x="5985" y="2123"/>
                    <a:pt x="5954" y="2091"/>
                  </a:cubicBezTo>
                  <a:cubicBezTo>
                    <a:pt x="5289" y="1299"/>
                    <a:pt x="4117" y="729"/>
                    <a:pt x="2439" y="349"/>
                  </a:cubicBezTo>
                  <a:cubicBezTo>
                    <a:pt x="1172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2" name="Google Shape;2702;p30"/>
            <p:cNvSpPr/>
            <p:nvPr/>
          </p:nvSpPr>
          <p:spPr>
            <a:xfrm>
              <a:off x="4311550" y="231157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95" y="1"/>
                  </a:moveTo>
                  <a:cubicBezTo>
                    <a:pt x="32" y="1"/>
                    <a:pt x="0" y="32"/>
                    <a:pt x="0" y="64"/>
                  </a:cubicBezTo>
                  <a:cubicBezTo>
                    <a:pt x="0" y="127"/>
                    <a:pt x="32" y="159"/>
                    <a:pt x="64" y="159"/>
                  </a:cubicBezTo>
                  <a:cubicBezTo>
                    <a:pt x="127" y="159"/>
                    <a:pt x="4339" y="413"/>
                    <a:pt x="5796" y="2186"/>
                  </a:cubicBezTo>
                  <a:cubicBezTo>
                    <a:pt x="5827" y="2218"/>
                    <a:pt x="5859" y="2218"/>
                    <a:pt x="5891" y="2218"/>
                  </a:cubicBezTo>
                  <a:cubicBezTo>
                    <a:pt x="5891" y="2218"/>
                    <a:pt x="5922" y="2218"/>
                    <a:pt x="5922" y="2186"/>
                  </a:cubicBezTo>
                  <a:cubicBezTo>
                    <a:pt x="5954" y="2154"/>
                    <a:pt x="5986" y="2123"/>
                    <a:pt x="5954" y="2091"/>
                  </a:cubicBezTo>
                  <a:cubicBezTo>
                    <a:pt x="5289" y="1299"/>
                    <a:pt x="4117" y="729"/>
                    <a:pt x="2439" y="317"/>
                  </a:cubicBezTo>
                  <a:cubicBezTo>
                    <a:pt x="1172" y="32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3" name="Google Shape;2703;p30"/>
            <p:cNvSpPr/>
            <p:nvPr/>
          </p:nvSpPr>
          <p:spPr>
            <a:xfrm>
              <a:off x="4311550" y="2347200"/>
              <a:ext cx="149650" cy="56250"/>
            </a:xfrm>
            <a:custGeom>
              <a:avLst/>
              <a:gdLst/>
              <a:ahLst/>
              <a:cxnLst/>
              <a:rect l="l" t="t" r="r" b="b"/>
              <a:pathLst>
                <a:path w="5986" h="2250" extrusionOk="0">
                  <a:moveTo>
                    <a:pt x="95" y="1"/>
                  </a:moveTo>
                  <a:cubicBezTo>
                    <a:pt x="32" y="1"/>
                    <a:pt x="0" y="33"/>
                    <a:pt x="0" y="96"/>
                  </a:cubicBezTo>
                  <a:cubicBezTo>
                    <a:pt x="0" y="128"/>
                    <a:pt x="32" y="159"/>
                    <a:pt x="64" y="159"/>
                  </a:cubicBezTo>
                  <a:cubicBezTo>
                    <a:pt x="127" y="159"/>
                    <a:pt x="4339" y="413"/>
                    <a:pt x="5796" y="2218"/>
                  </a:cubicBezTo>
                  <a:cubicBezTo>
                    <a:pt x="5827" y="2218"/>
                    <a:pt x="5859" y="2249"/>
                    <a:pt x="5891" y="2249"/>
                  </a:cubicBezTo>
                  <a:cubicBezTo>
                    <a:pt x="5891" y="2249"/>
                    <a:pt x="5922" y="2218"/>
                    <a:pt x="5922" y="2218"/>
                  </a:cubicBezTo>
                  <a:cubicBezTo>
                    <a:pt x="5954" y="2186"/>
                    <a:pt x="5986" y="2123"/>
                    <a:pt x="5954" y="2091"/>
                  </a:cubicBezTo>
                  <a:cubicBezTo>
                    <a:pt x="5289" y="1299"/>
                    <a:pt x="4117" y="729"/>
                    <a:pt x="2439" y="349"/>
                  </a:cubicBezTo>
                  <a:cubicBezTo>
                    <a:pt x="1172" y="64"/>
                    <a:pt x="95" y="1"/>
                    <a:pt x="95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4" name="Google Shape;2704;p30"/>
            <p:cNvSpPr/>
            <p:nvPr/>
          </p:nvSpPr>
          <p:spPr>
            <a:xfrm>
              <a:off x="4476225" y="2173825"/>
              <a:ext cx="209825" cy="334125"/>
            </a:xfrm>
            <a:custGeom>
              <a:avLst/>
              <a:gdLst/>
              <a:ahLst/>
              <a:cxnLst/>
              <a:rect l="l" t="t" r="r" b="b"/>
              <a:pathLst>
                <a:path w="8393" h="13365" extrusionOk="0">
                  <a:moveTo>
                    <a:pt x="7601" y="0"/>
                  </a:moveTo>
                  <a:cubicBezTo>
                    <a:pt x="7158" y="0"/>
                    <a:pt x="6556" y="32"/>
                    <a:pt x="5859" y="127"/>
                  </a:cubicBezTo>
                  <a:cubicBezTo>
                    <a:pt x="4498" y="380"/>
                    <a:pt x="2787" y="1014"/>
                    <a:pt x="1331" y="2566"/>
                  </a:cubicBezTo>
                  <a:cubicBezTo>
                    <a:pt x="1141" y="2756"/>
                    <a:pt x="982" y="2977"/>
                    <a:pt x="824" y="3167"/>
                  </a:cubicBezTo>
                  <a:lnTo>
                    <a:pt x="824" y="3262"/>
                  </a:lnTo>
                  <a:lnTo>
                    <a:pt x="159" y="11465"/>
                  </a:lnTo>
                  <a:lnTo>
                    <a:pt x="1" y="13365"/>
                  </a:lnTo>
                  <a:lnTo>
                    <a:pt x="32" y="13333"/>
                  </a:lnTo>
                  <a:cubicBezTo>
                    <a:pt x="149" y="13245"/>
                    <a:pt x="3031" y="11233"/>
                    <a:pt x="7323" y="11233"/>
                  </a:cubicBezTo>
                  <a:cubicBezTo>
                    <a:pt x="7671" y="11233"/>
                    <a:pt x="8028" y="11246"/>
                    <a:pt x="8393" y="11275"/>
                  </a:cubicBezTo>
                  <a:lnTo>
                    <a:pt x="8329" y="64"/>
                  </a:lnTo>
                  <a:cubicBezTo>
                    <a:pt x="8329" y="64"/>
                    <a:pt x="8076" y="0"/>
                    <a:pt x="760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5" name="Google Shape;2705;p30"/>
            <p:cNvSpPr/>
            <p:nvPr/>
          </p:nvSpPr>
          <p:spPr>
            <a:xfrm>
              <a:off x="4476225" y="2151825"/>
              <a:ext cx="190050" cy="356125"/>
            </a:xfrm>
            <a:custGeom>
              <a:avLst/>
              <a:gdLst/>
              <a:ahLst/>
              <a:cxnLst/>
              <a:rect l="l" t="t" r="r" b="b"/>
              <a:pathLst>
                <a:path w="7602" h="14245" extrusionOk="0">
                  <a:moveTo>
                    <a:pt x="6686" y="1"/>
                  </a:moveTo>
                  <a:cubicBezTo>
                    <a:pt x="6405" y="1"/>
                    <a:pt x="6070" y="15"/>
                    <a:pt x="5701" y="57"/>
                  </a:cubicBezTo>
                  <a:cubicBezTo>
                    <a:pt x="4086" y="215"/>
                    <a:pt x="1774" y="912"/>
                    <a:pt x="1" y="3161"/>
                  </a:cubicBezTo>
                  <a:lnTo>
                    <a:pt x="1" y="5187"/>
                  </a:lnTo>
                  <a:lnTo>
                    <a:pt x="1" y="12756"/>
                  </a:lnTo>
                  <a:lnTo>
                    <a:pt x="1" y="14213"/>
                  </a:lnTo>
                  <a:lnTo>
                    <a:pt x="1" y="14245"/>
                  </a:lnTo>
                  <a:cubicBezTo>
                    <a:pt x="1" y="14245"/>
                    <a:pt x="1" y="14245"/>
                    <a:pt x="32" y="14213"/>
                  </a:cubicBezTo>
                  <a:cubicBezTo>
                    <a:pt x="182" y="14004"/>
                    <a:pt x="2533" y="11141"/>
                    <a:pt x="6818" y="11141"/>
                  </a:cubicBezTo>
                  <a:cubicBezTo>
                    <a:pt x="7073" y="11141"/>
                    <a:pt x="7333" y="11152"/>
                    <a:pt x="7601" y="11173"/>
                  </a:cubicBezTo>
                  <a:lnTo>
                    <a:pt x="7601" y="57"/>
                  </a:lnTo>
                  <a:cubicBezTo>
                    <a:pt x="7601" y="57"/>
                    <a:pt x="7249" y="1"/>
                    <a:pt x="6686" y="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6" name="Google Shape;2706;p30"/>
            <p:cNvSpPr/>
            <p:nvPr/>
          </p:nvSpPr>
          <p:spPr>
            <a:xfrm>
              <a:off x="4494425" y="2199150"/>
              <a:ext cx="148875" cy="56250"/>
            </a:xfrm>
            <a:custGeom>
              <a:avLst/>
              <a:gdLst/>
              <a:ahLst/>
              <a:cxnLst/>
              <a:rect l="l" t="t" r="r" b="b"/>
              <a:pathLst>
                <a:path w="5955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331"/>
                    <a:pt x="33" y="2091"/>
                  </a:cubicBezTo>
                  <a:cubicBezTo>
                    <a:pt x="1" y="2123"/>
                    <a:pt x="1" y="2186"/>
                    <a:pt x="33" y="2218"/>
                  </a:cubicBezTo>
                  <a:cubicBezTo>
                    <a:pt x="64" y="2249"/>
                    <a:pt x="64" y="2249"/>
                    <a:pt x="96" y="2249"/>
                  </a:cubicBezTo>
                  <a:cubicBezTo>
                    <a:pt x="128" y="2249"/>
                    <a:pt x="128" y="2249"/>
                    <a:pt x="159" y="2218"/>
                  </a:cubicBezTo>
                  <a:cubicBezTo>
                    <a:pt x="1616" y="444"/>
                    <a:pt x="5860" y="191"/>
                    <a:pt x="5891" y="191"/>
                  </a:cubicBezTo>
                  <a:cubicBezTo>
                    <a:pt x="5923" y="191"/>
                    <a:pt x="5955" y="127"/>
                    <a:pt x="5955" y="96"/>
                  </a:cubicBezTo>
                  <a:cubicBezTo>
                    <a:pt x="5955" y="64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7" name="Google Shape;2707;p30"/>
            <p:cNvSpPr/>
            <p:nvPr/>
          </p:nvSpPr>
          <p:spPr>
            <a:xfrm>
              <a:off x="4494425" y="2235575"/>
              <a:ext cx="148875" cy="56250"/>
            </a:xfrm>
            <a:custGeom>
              <a:avLst/>
              <a:gdLst/>
              <a:ahLst/>
              <a:cxnLst/>
              <a:rect l="l" t="t" r="r" b="b"/>
              <a:pathLst>
                <a:path w="5955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2"/>
                    <a:pt x="1" y="2186"/>
                    <a:pt x="33" y="2217"/>
                  </a:cubicBezTo>
                  <a:cubicBezTo>
                    <a:pt x="64" y="2217"/>
                    <a:pt x="64" y="2249"/>
                    <a:pt x="96" y="2249"/>
                  </a:cubicBezTo>
                  <a:cubicBezTo>
                    <a:pt x="128" y="2249"/>
                    <a:pt x="128" y="2217"/>
                    <a:pt x="159" y="2217"/>
                  </a:cubicBezTo>
                  <a:cubicBezTo>
                    <a:pt x="1616" y="412"/>
                    <a:pt x="5860" y="159"/>
                    <a:pt x="5891" y="159"/>
                  </a:cubicBezTo>
                  <a:cubicBezTo>
                    <a:pt x="5923" y="159"/>
                    <a:pt x="5955" y="127"/>
                    <a:pt x="5955" y="96"/>
                  </a:cubicBezTo>
                  <a:cubicBezTo>
                    <a:pt x="5955" y="32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8" name="Google Shape;2708;p30"/>
            <p:cNvSpPr/>
            <p:nvPr/>
          </p:nvSpPr>
          <p:spPr>
            <a:xfrm>
              <a:off x="4491275" y="2268825"/>
              <a:ext cx="149650" cy="55450"/>
            </a:xfrm>
            <a:custGeom>
              <a:avLst/>
              <a:gdLst/>
              <a:ahLst/>
              <a:cxnLst/>
              <a:rect l="l" t="t" r="r" b="b"/>
              <a:pathLst>
                <a:path w="5986" h="2218" extrusionOk="0">
                  <a:moveTo>
                    <a:pt x="5891" y="1"/>
                  </a:moveTo>
                  <a:cubicBezTo>
                    <a:pt x="5891" y="1"/>
                    <a:pt x="4782" y="64"/>
                    <a:pt x="3547" y="349"/>
                  </a:cubicBezTo>
                  <a:cubicBezTo>
                    <a:pt x="1869" y="729"/>
                    <a:pt x="665" y="1299"/>
                    <a:pt x="32" y="2091"/>
                  </a:cubicBezTo>
                  <a:cubicBezTo>
                    <a:pt x="0" y="2123"/>
                    <a:pt x="0" y="2186"/>
                    <a:pt x="32" y="2218"/>
                  </a:cubicBezTo>
                  <a:lnTo>
                    <a:pt x="95" y="2218"/>
                  </a:lnTo>
                  <a:cubicBezTo>
                    <a:pt x="127" y="2218"/>
                    <a:pt x="159" y="2218"/>
                    <a:pt x="159" y="2186"/>
                  </a:cubicBezTo>
                  <a:cubicBezTo>
                    <a:pt x="1647" y="412"/>
                    <a:pt x="5859" y="159"/>
                    <a:pt x="5891" y="159"/>
                  </a:cubicBezTo>
                  <a:cubicBezTo>
                    <a:pt x="5954" y="159"/>
                    <a:pt x="5986" y="127"/>
                    <a:pt x="5986" y="64"/>
                  </a:cubicBezTo>
                  <a:cubicBezTo>
                    <a:pt x="5986" y="32"/>
                    <a:pt x="5922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09" name="Google Shape;2709;p30"/>
            <p:cNvSpPr/>
            <p:nvPr/>
          </p:nvSpPr>
          <p:spPr>
            <a:xfrm>
              <a:off x="4492050" y="2311575"/>
              <a:ext cx="149675" cy="55450"/>
            </a:xfrm>
            <a:custGeom>
              <a:avLst/>
              <a:gdLst/>
              <a:ahLst/>
              <a:cxnLst/>
              <a:rect l="l" t="t" r="r" b="b"/>
              <a:pathLst>
                <a:path w="5987" h="2218" extrusionOk="0">
                  <a:moveTo>
                    <a:pt x="5891" y="1"/>
                  </a:moveTo>
                  <a:cubicBezTo>
                    <a:pt x="5860" y="1"/>
                    <a:pt x="4783" y="32"/>
                    <a:pt x="3548" y="317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3"/>
                    <a:pt x="1" y="2154"/>
                    <a:pt x="33" y="2186"/>
                  </a:cubicBezTo>
                  <a:cubicBezTo>
                    <a:pt x="64" y="2218"/>
                    <a:pt x="64" y="2218"/>
                    <a:pt x="96" y="2218"/>
                  </a:cubicBezTo>
                  <a:cubicBezTo>
                    <a:pt x="128" y="2218"/>
                    <a:pt x="159" y="2218"/>
                    <a:pt x="159" y="2186"/>
                  </a:cubicBezTo>
                  <a:cubicBezTo>
                    <a:pt x="1648" y="413"/>
                    <a:pt x="5860" y="159"/>
                    <a:pt x="5891" y="159"/>
                  </a:cubicBezTo>
                  <a:cubicBezTo>
                    <a:pt x="5955" y="159"/>
                    <a:pt x="5986" y="127"/>
                    <a:pt x="5986" y="64"/>
                  </a:cubicBezTo>
                  <a:cubicBezTo>
                    <a:pt x="5986" y="32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0" name="Google Shape;2710;p30"/>
            <p:cNvSpPr/>
            <p:nvPr/>
          </p:nvSpPr>
          <p:spPr>
            <a:xfrm>
              <a:off x="4492050" y="2347200"/>
              <a:ext cx="149675" cy="56250"/>
            </a:xfrm>
            <a:custGeom>
              <a:avLst/>
              <a:gdLst/>
              <a:ahLst/>
              <a:cxnLst/>
              <a:rect l="l" t="t" r="r" b="b"/>
              <a:pathLst>
                <a:path w="5987" h="2250" extrusionOk="0">
                  <a:moveTo>
                    <a:pt x="5891" y="1"/>
                  </a:moveTo>
                  <a:cubicBezTo>
                    <a:pt x="5860" y="1"/>
                    <a:pt x="4783" y="64"/>
                    <a:pt x="3548" y="349"/>
                  </a:cubicBezTo>
                  <a:cubicBezTo>
                    <a:pt x="1838" y="729"/>
                    <a:pt x="666" y="1299"/>
                    <a:pt x="33" y="2091"/>
                  </a:cubicBezTo>
                  <a:cubicBezTo>
                    <a:pt x="1" y="2123"/>
                    <a:pt x="1" y="2186"/>
                    <a:pt x="33" y="2218"/>
                  </a:cubicBezTo>
                  <a:cubicBezTo>
                    <a:pt x="64" y="2218"/>
                    <a:pt x="64" y="2249"/>
                    <a:pt x="96" y="2249"/>
                  </a:cubicBezTo>
                  <a:cubicBezTo>
                    <a:pt x="128" y="2249"/>
                    <a:pt x="159" y="2218"/>
                    <a:pt x="159" y="2218"/>
                  </a:cubicBezTo>
                  <a:cubicBezTo>
                    <a:pt x="1648" y="413"/>
                    <a:pt x="5860" y="159"/>
                    <a:pt x="5891" y="159"/>
                  </a:cubicBezTo>
                  <a:cubicBezTo>
                    <a:pt x="5955" y="159"/>
                    <a:pt x="5986" y="128"/>
                    <a:pt x="5986" y="96"/>
                  </a:cubicBezTo>
                  <a:cubicBezTo>
                    <a:pt x="5986" y="33"/>
                    <a:pt x="5923" y="1"/>
                    <a:pt x="5891" y="1"/>
                  </a:cubicBezTo>
                  <a:close/>
                </a:path>
              </a:pathLst>
            </a:custGeom>
            <a:solidFill>
              <a:srgbClr val="30475E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711" name="Google Shape;2711;p30"/>
            <p:cNvSpPr/>
            <p:nvPr/>
          </p:nvSpPr>
          <p:spPr>
            <a:xfrm>
              <a:off x="4473050" y="2151825"/>
              <a:ext cx="213000" cy="356125"/>
            </a:xfrm>
            <a:custGeom>
              <a:avLst/>
              <a:gdLst/>
              <a:ahLst/>
              <a:cxnLst/>
              <a:rect l="l" t="t" r="r" b="b"/>
              <a:pathLst>
                <a:path w="8520" h="14245" extrusionOk="0">
                  <a:moveTo>
                    <a:pt x="6804" y="1"/>
                  </a:moveTo>
                  <a:cubicBezTo>
                    <a:pt x="6518" y="1"/>
                    <a:pt x="6176" y="15"/>
                    <a:pt x="5796" y="57"/>
                  </a:cubicBezTo>
                  <a:cubicBezTo>
                    <a:pt x="5828" y="120"/>
                    <a:pt x="5828" y="184"/>
                    <a:pt x="5860" y="279"/>
                  </a:cubicBezTo>
                  <a:cubicBezTo>
                    <a:pt x="5923" y="532"/>
                    <a:pt x="5955" y="754"/>
                    <a:pt x="5986" y="1007"/>
                  </a:cubicBezTo>
                  <a:cubicBezTo>
                    <a:pt x="6018" y="1324"/>
                    <a:pt x="6018" y="1640"/>
                    <a:pt x="5986" y="1957"/>
                  </a:cubicBezTo>
                  <a:cubicBezTo>
                    <a:pt x="5986" y="2020"/>
                    <a:pt x="5986" y="2084"/>
                    <a:pt x="5986" y="2147"/>
                  </a:cubicBezTo>
                  <a:cubicBezTo>
                    <a:pt x="5955" y="2591"/>
                    <a:pt x="5891" y="3002"/>
                    <a:pt x="5796" y="3446"/>
                  </a:cubicBezTo>
                  <a:cubicBezTo>
                    <a:pt x="5796" y="3509"/>
                    <a:pt x="5765" y="3572"/>
                    <a:pt x="5765" y="3604"/>
                  </a:cubicBezTo>
                  <a:cubicBezTo>
                    <a:pt x="5638" y="4016"/>
                    <a:pt x="5511" y="4427"/>
                    <a:pt x="5353" y="4807"/>
                  </a:cubicBezTo>
                  <a:cubicBezTo>
                    <a:pt x="5321" y="4871"/>
                    <a:pt x="5290" y="4934"/>
                    <a:pt x="5290" y="4997"/>
                  </a:cubicBezTo>
                  <a:cubicBezTo>
                    <a:pt x="5163" y="5219"/>
                    <a:pt x="5068" y="5441"/>
                    <a:pt x="4941" y="5662"/>
                  </a:cubicBezTo>
                  <a:cubicBezTo>
                    <a:pt x="4751" y="6011"/>
                    <a:pt x="4561" y="6359"/>
                    <a:pt x="4340" y="6707"/>
                  </a:cubicBezTo>
                  <a:cubicBezTo>
                    <a:pt x="4308" y="6771"/>
                    <a:pt x="4245" y="6834"/>
                    <a:pt x="4213" y="6929"/>
                  </a:cubicBezTo>
                  <a:cubicBezTo>
                    <a:pt x="3833" y="7468"/>
                    <a:pt x="3453" y="7974"/>
                    <a:pt x="3041" y="8513"/>
                  </a:cubicBezTo>
                  <a:cubicBezTo>
                    <a:pt x="2978" y="8608"/>
                    <a:pt x="2914" y="8671"/>
                    <a:pt x="2851" y="8766"/>
                  </a:cubicBezTo>
                  <a:cubicBezTo>
                    <a:pt x="2249" y="9526"/>
                    <a:pt x="1616" y="10286"/>
                    <a:pt x="1046" y="11078"/>
                  </a:cubicBezTo>
                  <a:cubicBezTo>
                    <a:pt x="761" y="11489"/>
                    <a:pt x="476" y="11901"/>
                    <a:pt x="286" y="12345"/>
                  </a:cubicBezTo>
                  <a:cubicBezTo>
                    <a:pt x="223" y="12471"/>
                    <a:pt x="191" y="12598"/>
                    <a:pt x="128" y="12725"/>
                  </a:cubicBezTo>
                  <a:cubicBezTo>
                    <a:pt x="128" y="12725"/>
                    <a:pt x="128" y="12756"/>
                    <a:pt x="128" y="12756"/>
                  </a:cubicBezTo>
                  <a:cubicBezTo>
                    <a:pt x="96" y="12851"/>
                    <a:pt x="64" y="12978"/>
                    <a:pt x="33" y="13105"/>
                  </a:cubicBezTo>
                  <a:cubicBezTo>
                    <a:pt x="33" y="13263"/>
                    <a:pt x="1" y="13421"/>
                    <a:pt x="1" y="13580"/>
                  </a:cubicBezTo>
                  <a:cubicBezTo>
                    <a:pt x="1" y="13801"/>
                    <a:pt x="33" y="13991"/>
                    <a:pt x="96" y="14181"/>
                  </a:cubicBezTo>
                  <a:cubicBezTo>
                    <a:pt x="96" y="14181"/>
                    <a:pt x="96" y="14181"/>
                    <a:pt x="96" y="14213"/>
                  </a:cubicBezTo>
                  <a:lnTo>
                    <a:pt x="128" y="14213"/>
                  </a:lnTo>
                  <a:lnTo>
                    <a:pt x="128" y="14245"/>
                  </a:lnTo>
                  <a:cubicBezTo>
                    <a:pt x="128" y="14245"/>
                    <a:pt x="128" y="14245"/>
                    <a:pt x="159" y="14213"/>
                  </a:cubicBezTo>
                  <a:cubicBezTo>
                    <a:pt x="276" y="14125"/>
                    <a:pt x="3158" y="12113"/>
                    <a:pt x="7450" y="12113"/>
                  </a:cubicBezTo>
                  <a:cubicBezTo>
                    <a:pt x="7798" y="12113"/>
                    <a:pt x="8155" y="12126"/>
                    <a:pt x="8520" y="12155"/>
                  </a:cubicBezTo>
                  <a:lnTo>
                    <a:pt x="8456" y="944"/>
                  </a:lnTo>
                  <a:cubicBezTo>
                    <a:pt x="8456" y="944"/>
                    <a:pt x="8171" y="880"/>
                    <a:pt x="7728" y="880"/>
                  </a:cubicBezTo>
                  <a:lnTo>
                    <a:pt x="7728" y="57"/>
                  </a:lnTo>
                  <a:cubicBezTo>
                    <a:pt x="7728" y="57"/>
                    <a:pt x="7376" y="1"/>
                    <a:pt x="6804" y="1"/>
                  </a:cubicBezTo>
                  <a:close/>
                </a:path>
              </a:pathLst>
            </a:custGeom>
            <a:solidFill>
              <a:srgbClr val="CECECE">
                <a:alpha val="2849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99" name="Google Shape;2599;p30"/>
            <p:cNvSpPr/>
            <p:nvPr/>
          </p:nvSpPr>
          <p:spPr>
            <a:xfrm>
              <a:off x="4063725" y="1920475"/>
              <a:ext cx="821050" cy="821050"/>
            </a:xfrm>
            <a:custGeom>
              <a:avLst/>
              <a:gdLst/>
              <a:ahLst/>
              <a:cxnLst/>
              <a:rect l="l" t="t" r="r" b="b"/>
              <a:pathLst>
                <a:path w="32842" h="32842" extrusionOk="0">
                  <a:moveTo>
                    <a:pt x="16437" y="0"/>
                  </a:moveTo>
                  <a:cubicBezTo>
                    <a:pt x="7348" y="0"/>
                    <a:pt x="1" y="7348"/>
                    <a:pt x="1" y="16405"/>
                  </a:cubicBezTo>
                  <a:cubicBezTo>
                    <a:pt x="1" y="25462"/>
                    <a:pt x="7348" y="32841"/>
                    <a:pt x="16437" y="32841"/>
                  </a:cubicBezTo>
                  <a:cubicBezTo>
                    <a:pt x="25495" y="32841"/>
                    <a:pt x="32842" y="25462"/>
                    <a:pt x="32842" y="16405"/>
                  </a:cubicBezTo>
                  <a:cubicBezTo>
                    <a:pt x="32842" y="7348"/>
                    <a:pt x="25495" y="0"/>
                    <a:pt x="1643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720" name="Google Shape;2720;p30"/>
          <p:cNvSpPr txBox="1"/>
          <p:nvPr/>
        </p:nvSpPr>
        <p:spPr>
          <a:xfrm>
            <a:off x="956533" y="548633"/>
            <a:ext cx="10298000" cy="6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3733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Marketing Strategies (Contd.)</a:t>
            </a:r>
            <a:endParaRPr sz="3733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1" name="Google Shape;2721;p30"/>
          <p:cNvSpPr txBox="1"/>
          <p:nvPr/>
        </p:nvSpPr>
        <p:spPr>
          <a:xfrm>
            <a:off x="2251268" y="4841693"/>
            <a:ext cx="2524718" cy="8459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Trial Periods and Pilots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3" name="Google Shape;2723;p30"/>
          <p:cNvSpPr txBox="1"/>
          <p:nvPr/>
        </p:nvSpPr>
        <p:spPr>
          <a:xfrm>
            <a:off x="4769214" y="1779631"/>
            <a:ext cx="2353600" cy="9126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Government Engagement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2725" name="Google Shape;2725;p30"/>
          <p:cNvSpPr txBox="1"/>
          <p:nvPr/>
        </p:nvSpPr>
        <p:spPr>
          <a:xfrm>
            <a:off x="7366430" y="4657665"/>
            <a:ext cx="2353600" cy="880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IN" sz="1867" kern="0" dirty="0">
                <a:solidFill>
                  <a:srgbClr val="000000"/>
                </a:solidFill>
                <a:latin typeface="Fira Sans Medium"/>
                <a:ea typeface="Fira Sans Medium"/>
                <a:cs typeface="Fira Sans Medium"/>
                <a:sym typeface="Fira Sans Medium"/>
              </a:rPr>
              <a:t>Social Media Engagement</a:t>
            </a:r>
            <a:endParaRPr sz="1867" kern="0" dirty="0">
              <a:solidFill>
                <a:srgbClr val="000000"/>
              </a:solidFill>
              <a:latin typeface="Fira Sans Medium"/>
              <a:ea typeface="Fira Sans Medium"/>
              <a:cs typeface="Fira Sans Medium"/>
              <a:sym typeface="Fira Sans Medium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AF5ED1A-3AAD-7D2C-33ED-1DD5C5AD7DCA}"/>
              </a:ext>
            </a:extLst>
          </p:cNvPr>
          <p:cNvSpPr/>
          <p:nvPr/>
        </p:nvSpPr>
        <p:spPr>
          <a:xfrm>
            <a:off x="10686074" y="4758378"/>
            <a:ext cx="649941" cy="62752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E9E9DF-45E1-F9C0-46BA-135EE88A4AC9}"/>
              </a:ext>
            </a:extLst>
          </p:cNvPr>
          <p:cNvSpPr/>
          <p:nvPr/>
        </p:nvSpPr>
        <p:spPr>
          <a:xfrm>
            <a:off x="10791025" y="2654605"/>
            <a:ext cx="329002" cy="13237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Google Shape;2753;p31">
            <a:extLst>
              <a:ext uri="{FF2B5EF4-FFF2-40B4-BE49-F238E27FC236}">
                <a16:creationId xmlns:a16="http://schemas.microsoft.com/office/drawing/2014/main" id="{C9EF423D-5C84-EA58-C716-7ADB3DF975F0}"/>
              </a:ext>
            </a:extLst>
          </p:cNvPr>
          <p:cNvSpPr/>
          <p:nvPr/>
        </p:nvSpPr>
        <p:spPr>
          <a:xfrm>
            <a:off x="5638995" y="4755271"/>
            <a:ext cx="711988" cy="414466"/>
          </a:xfrm>
          <a:custGeom>
            <a:avLst/>
            <a:gdLst/>
            <a:ahLst/>
            <a:cxnLst/>
            <a:rect l="l" t="t" r="r" b="b"/>
            <a:pathLst>
              <a:path w="15709" h="8845" extrusionOk="0">
                <a:moveTo>
                  <a:pt x="1964" y="309"/>
                </a:moveTo>
                <a:lnTo>
                  <a:pt x="3927" y="1164"/>
                </a:lnTo>
                <a:cubicBezTo>
                  <a:pt x="3484" y="2146"/>
                  <a:pt x="2312" y="4838"/>
                  <a:pt x="2312" y="4838"/>
                </a:cubicBezTo>
                <a:lnTo>
                  <a:pt x="380" y="3983"/>
                </a:lnTo>
                <a:lnTo>
                  <a:pt x="1964" y="309"/>
                </a:lnTo>
                <a:close/>
                <a:moveTo>
                  <a:pt x="13745" y="816"/>
                </a:moveTo>
                <a:lnTo>
                  <a:pt x="15360" y="4490"/>
                </a:lnTo>
                <a:lnTo>
                  <a:pt x="13428" y="5345"/>
                </a:lnTo>
                <a:cubicBezTo>
                  <a:pt x="13016" y="4363"/>
                  <a:pt x="11940" y="1924"/>
                  <a:pt x="11813" y="1671"/>
                </a:cubicBezTo>
                <a:cubicBezTo>
                  <a:pt x="12478" y="1386"/>
                  <a:pt x="13111" y="1101"/>
                  <a:pt x="13745" y="816"/>
                </a:cubicBezTo>
                <a:close/>
                <a:moveTo>
                  <a:pt x="8551" y="1703"/>
                </a:moveTo>
                <a:cubicBezTo>
                  <a:pt x="8931" y="1766"/>
                  <a:pt x="9279" y="1956"/>
                  <a:pt x="9660" y="2083"/>
                </a:cubicBezTo>
                <a:cubicBezTo>
                  <a:pt x="9976" y="2178"/>
                  <a:pt x="10356" y="2305"/>
                  <a:pt x="10705" y="2305"/>
                </a:cubicBezTo>
                <a:cubicBezTo>
                  <a:pt x="11053" y="2305"/>
                  <a:pt x="11401" y="2178"/>
                  <a:pt x="11686" y="2019"/>
                </a:cubicBezTo>
                <a:lnTo>
                  <a:pt x="12985" y="4996"/>
                </a:lnTo>
                <a:lnTo>
                  <a:pt x="12541" y="5376"/>
                </a:lnTo>
                <a:cubicBezTo>
                  <a:pt x="12446" y="5440"/>
                  <a:pt x="12383" y="5503"/>
                  <a:pt x="12320" y="5598"/>
                </a:cubicBezTo>
                <a:cubicBezTo>
                  <a:pt x="12130" y="5915"/>
                  <a:pt x="12035" y="5978"/>
                  <a:pt x="11971" y="5978"/>
                </a:cubicBezTo>
                <a:cubicBezTo>
                  <a:pt x="11813" y="5883"/>
                  <a:pt x="11686" y="5693"/>
                  <a:pt x="11560" y="5535"/>
                </a:cubicBezTo>
                <a:cubicBezTo>
                  <a:pt x="11306" y="5281"/>
                  <a:pt x="11085" y="5028"/>
                  <a:pt x="10863" y="4775"/>
                </a:cubicBezTo>
                <a:cubicBezTo>
                  <a:pt x="10483" y="4395"/>
                  <a:pt x="10103" y="3983"/>
                  <a:pt x="9755" y="3603"/>
                </a:cubicBezTo>
                <a:cubicBezTo>
                  <a:pt x="9565" y="3413"/>
                  <a:pt x="9406" y="3255"/>
                  <a:pt x="9248" y="3096"/>
                </a:cubicBezTo>
                <a:cubicBezTo>
                  <a:pt x="9089" y="2970"/>
                  <a:pt x="8931" y="2811"/>
                  <a:pt x="8773" y="2716"/>
                </a:cubicBezTo>
                <a:cubicBezTo>
                  <a:pt x="8707" y="2672"/>
                  <a:pt x="8642" y="2655"/>
                  <a:pt x="8577" y="2655"/>
                </a:cubicBezTo>
                <a:cubicBezTo>
                  <a:pt x="8455" y="2655"/>
                  <a:pt x="8338" y="2717"/>
                  <a:pt x="8234" y="2780"/>
                </a:cubicBezTo>
                <a:cubicBezTo>
                  <a:pt x="8108" y="2875"/>
                  <a:pt x="7981" y="2938"/>
                  <a:pt x="7823" y="2970"/>
                </a:cubicBezTo>
                <a:cubicBezTo>
                  <a:pt x="7601" y="3033"/>
                  <a:pt x="7253" y="3033"/>
                  <a:pt x="7189" y="3318"/>
                </a:cubicBezTo>
                <a:cubicBezTo>
                  <a:pt x="7094" y="3540"/>
                  <a:pt x="7094" y="3761"/>
                  <a:pt x="6968" y="3983"/>
                </a:cubicBezTo>
                <a:cubicBezTo>
                  <a:pt x="6865" y="4111"/>
                  <a:pt x="6638" y="4343"/>
                  <a:pt x="6438" y="4343"/>
                </a:cubicBezTo>
                <a:cubicBezTo>
                  <a:pt x="6391" y="4343"/>
                  <a:pt x="6345" y="4330"/>
                  <a:pt x="6303" y="4300"/>
                </a:cubicBezTo>
                <a:cubicBezTo>
                  <a:pt x="6208" y="4236"/>
                  <a:pt x="6239" y="4110"/>
                  <a:pt x="6239" y="3983"/>
                </a:cubicBezTo>
                <a:cubicBezTo>
                  <a:pt x="6271" y="3825"/>
                  <a:pt x="6303" y="3666"/>
                  <a:pt x="6366" y="3508"/>
                </a:cubicBezTo>
                <a:cubicBezTo>
                  <a:pt x="6429" y="3160"/>
                  <a:pt x="6493" y="2780"/>
                  <a:pt x="6651" y="2431"/>
                </a:cubicBezTo>
                <a:cubicBezTo>
                  <a:pt x="6683" y="2368"/>
                  <a:pt x="6714" y="2336"/>
                  <a:pt x="6778" y="2305"/>
                </a:cubicBezTo>
                <a:cubicBezTo>
                  <a:pt x="7031" y="2178"/>
                  <a:pt x="7284" y="2083"/>
                  <a:pt x="7538" y="1988"/>
                </a:cubicBezTo>
                <a:cubicBezTo>
                  <a:pt x="7728" y="1924"/>
                  <a:pt x="7918" y="1861"/>
                  <a:pt x="8108" y="1798"/>
                </a:cubicBezTo>
                <a:cubicBezTo>
                  <a:pt x="8234" y="1766"/>
                  <a:pt x="8393" y="1703"/>
                  <a:pt x="8551" y="1703"/>
                </a:cubicBezTo>
                <a:close/>
                <a:moveTo>
                  <a:pt x="4460" y="5849"/>
                </a:moveTo>
                <a:cubicBezTo>
                  <a:pt x="4472" y="5849"/>
                  <a:pt x="4485" y="5850"/>
                  <a:pt x="4497" y="5851"/>
                </a:cubicBezTo>
                <a:cubicBezTo>
                  <a:pt x="4592" y="5883"/>
                  <a:pt x="4719" y="5915"/>
                  <a:pt x="4751" y="6010"/>
                </a:cubicBezTo>
                <a:cubicBezTo>
                  <a:pt x="4814" y="6105"/>
                  <a:pt x="4846" y="6136"/>
                  <a:pt x="4814" y="6231"/>
                </a:cubicBezTo>
                <a:cubicBezTo>
                  <a:pt x="4751" y="6295"/>
                  <a:pt x="4719" y="6390"/>
                  <a:pt x="4687" y="6485"/>
                </a:cubicBezTo>
                <a:cubicBezTo>
                  <a:pt x="4687" y="6548"/>
                  <a:pt x="4687" y="6706"/>
                  <a:pt x="4592" y="6706"/>
                </a:cubicBezTo>
                <a:cubicBezTo>
                  <a:pt x="4371" y="6706"/>
                  <a:pt x="4181" y="6453"/>
                  <a:pt x="4149" y="6295"/>
                </a:cubicBezTo>
                <a:cubicBezTo>
                  <a:pt x="4089" y="6086"/>
                  <a:pt x="4255" y="5849"/>
                  <a:pt x="4460" y="5849"/>
                </a:cubicBezTo>
                <a:close/>
                <a:moveTo>
                  <a:pt x="5321" y="6326"/>
                </a:moveTo>
                <a:cubicBezTo>
                  <a:pt x="5638" y="6358"/>
                  <a:pt x="5733" y="6611"/>
                  <a:pt x="5764" y="6896"/>
                </a:cubicBezTo>
                <a:cubicBezTo>
                  <a:pt x="5764" y="7055"/>
                  <a:pt x="5764" y="7213"/>
                  <a:pt x="5701" y="7308"/>
                </a:cubicBezTo>
                <a:cubicBezTo>
                  <a:pt x="5649" y="7386"/>
                  <a:pt x="5554" y="7443"/>
                  <a:pt x="5469" y="7443"/>
                </a:cubicBezTo>
                <a:cubicBezTo>
                  <a:pt x="5451" y="7443"/>
                  <a:pt x="5433" y="7440"/>
                  <a:pt x="5416" y="7435"/>
                </a:cubicBezTo>
                <a:cubicBezTo>
                  <a:pt x="5226" y="7435"/>
                  <a:pt x="4973" y="7150"/>
                  <a:pt x="4941" y="6960"/>
                </a:cubicBezTo>
                <a:lnTo>
                  <a:pt x="4941" y="6960"/>
                </a:lnTo>
                <a:cubicBezTo>
                  <a:pt x="4946" y="6980"/>
                  <a:pt x="4949" y="6988"/>
                  <a:pt x="4950" y="6988"/>
                </a:cubicBezTo>
                <a:cubicBezTo>
                  <a:pt x="4952" y="6988"/>
                  <a:pt x="4941" y="6924"/>
                  <a:pt x="4935" y="6897"/>
                </a:cubicBezTo>
                <a:lnTo>
                  <a:pt x="4935" y="6897"/>
                </a:lnTo>
                <a:cubicBezTo>
                  <a:pt x="4936" y="6919"/>
                  <a:pt x="4938" y="6940"/>
                  <a:pt x="4941" y="6960"/>
                </a:cubicBezTo>
                <a:cubicBezTo>
                  <a:pt x="4933" y="6904"/>
                  <a:pt x="4931" y="6884"/>
                  <a:pt x="4932" y="6884"/>
                </a:cubicBezTo>
                <a:lnTo>
                  <a:pt x="4932" y="6884"/>
                </a:lnTo>
                <a:cubicBezTo>
                  <a:pt x="4933" y="6884"/>
                  <a:pt x="4934" y="6889"/>
                  <a:pt x="4935" y="6897"/>
                </a:cubicBezTo>
                <a:lnTo>
                  <a:pt x="4935" y="6897"/>
                </a:lnTo>
                <a:cubicBezTo>
                  <a:pt x="4928" y="6668"/>
                  <a:pt x="5032" y="6326"/>
                  <a:pt x="5321" y="6326"/>
                </a:cubicBezTo>
                <a:close/>
                <a:moveTo>
                  <a:pt x="6334" y="6865"/>
                </a:moveTo>
                <a:cubicBezTo>
                  <a:pt x="6619" y="6896"/>
                  <a:pt x="6778" y="7118"/>
                  <a:pt x="6809" y="7372"/>
                </a:cubicBezTo>
                <a:cubicBezTo>
                  <a:pt x="6841" y="7625"/>
                  <a:pt x="6809" y="8037"/>
                  <a:pt x="6493" y="8100"/>
                </a:cubicBezTo>
                <a:cubicBezTo>
                  <a:pt x="6458" y="8113"/>
                  <a:pt x="6425" y="8119"/>
                  <a:pt x="6394" y="8119"/>
                </a:cubicBezTo>
                <a:cubicBezTo>
                  <a:pt x="6198" y="8119"/>
                  <a:pt x="6072" y="7884"/>
                  <a:pt x="6018" y="7720"/>
                </a:cubicBezTo>
                <a:cubicBezTo>
                  <a:pt x="5986" y="7530"/>
                  <a:pt x="5986" y="7372"/>
                  <a:pt x="6018" y="7213"/>
                </a:cubicBezTo>
                <a:cubicBezTo>
                  <a:pt x="6081" y="7055"/>
                  <a:pt x="6176" y="6865"/>
                  <a:pt x="6334" y="6865"/>
                </a:cubicBezTo>
                <a:close/>
                <a:moveTo>
                  <a:pt x="3991" y="1671"/>
                </a:moveTo>
                <a:cubicBezTo>
                  <a:pt x="4212" y="1766"/>
                  <a:pt x="4466" y="1861"/>
                  <a:pt x="4719" y="1861"/>
                </a:cubicBezTo>
                <a:cubicBezTo>
                  <a:pt x="4973" y="1893"/>
                  <a:pt x="5194" y="1893"/>
                  <a:pt x="5448" y="1893"/>
                </a:cubicBezTo>
                <a:cubicBezTo>
                  <a:pt x="5806" y="1893"/>
                  <a:pt x="6165" y="1879"/>
                  <a:pt x="6534" y="1879"/>
                </a:cubicBezTo>
                <a:cubicBezTo>
                  <a:pt x="6718" y="1879"/>
                  <a:pt x="6904" y="1882"/>
                  <a:pt x="7094" y="1893"/>
                </a:cubicBezTo>
                <a:cubicBezTo>
                  <a:pt x="6936" y="1924"/>
                  <a:pt x="6809" y="1988"/>
                  <a:pt x="6683" y="2051"/>
                </a:cubicBezTo>
                <a:cubicBezTo>
                  <a:pt x="6619" y="2083"/>
                  <a:pt x="6588" y="2083"/>
                  <a:pt x="6524" y="2146"/>
                </a:cubicBezTo>
                <a:cubicBezTo>
                  <a:pt x="6461" y="2210"/>
                  <a:pt x="6398" y="2336"/>
                  <a:pt x="6366" y="2431"/>
                </a:cubicBezTo>
                <a:cubicBezTo>
                  <a:pt x="6176" y="2906"/>
                  <a:pt x="6081" y="3413"/>
                  <a:pt x="5986" y="3920"/>
                </a:cubicBezTo>
                <a:cubicBezTo>
                  <a:pt x="5923" y="4173"/>
                  <a:pt x="5923" y="4458"/>
                  <a:pt x="6208" y="4585"/>
                </a:cubicBezTo>
                <a:cubicBezTo>
                  <a:pt x="6272" y="4613"/>
                  <a:pt x="6338" y="4626"/>
                  <a:pt x="6403" y="4626"/>
                </a:cubicBezTo>
                <a:cubicBezTo>
                  <a:pt x="6629" y="4626"/>
                  <a:pt x="6852" y="4479"/>
                  <a:pt x="6999" y="4331"/>
                </a:cubicBezTo>
                <a:cubicBezTo>
                  <a:pt x="7189" y="4141"/>
                  <a:pt x="7316" y="3920"/>
                  <a:pt x="7379" y="3666"/>
                </a:cubicBezTo>
                <a:cubicBezTo>
                  <a:pt x="7379" y="3571"/>
                  <a:pt x="7411" y="3476"/>
                  <a:pt x="7443" y="3381"/>
                </a:cubicBezTo>
                <a:cubicBezTo>
                  <a:pt x="7443" y="3350"/>
                  <a:pt x="7601" y="3318"/>
                  <a:pt x="7633" y="3318"/>
                </a:cubicBezTo>
                <a:cubicBezTo>
                  <a:pt x="7696" y="3286"/>
                  <a:pt x="7791" y="3286"/>
                  <a:pt x="7854" y="3255"/>
                </a:cubicBezTo>
                <a:cubicBezTo>
                  <a:pt x="7981" y="3223"/>
                  <a:pt x="8108" y="3160"/>
                  <a:pt x="8234" y="3096"/>
                </a:cubicBezTo>
                <a:cubicBezTo>
                  <a:pt x="8361" y="3033"/>
                  <a:pt x="8456" y="2938"/>
                  <a:pt x="8583" y="2938"/>
                </a:cubicBezTo>
                <a:cubicBezTo>
                  <a:pt x="8709" y="2970"/>
                  <a:pt x="8868" y="3128"/>
                  <a:pt x="8963" y="3223"/>
                </a:cubicBezTo>
                <a:cubicBezTo>
                  <a:pt x="9153" y="3381"/>
                  <a:pt x="9311" y="3571"/>
                  <a:pt x="9501" y="3761"/>
                </a:cubicBezTo>
                <a:cubicBezTo>
                  <a:pt x="9850" y="4141"/>
                  <a:pt x="10230" y="4553"/>
                  <a:pt x="10578" y="4933"/>
                </a:cubicBezTo>
                <a:cubicBezTo>
                  <a:pt x="10926" y="5313"/>
                  <a:pt x="11275" y="5693"/>
                  <a:pt x="11623" y="6073"/>
                </a:cubicBezTo>
                <a:cubicBezTo>
                  <a:pt x="11718" y="6168"/>
                  <a:pt x="11750" y="6231"/>
                  <a:pt x="11781" y="6326"/>
                </a:cubicBezTo>
                <a:cubicBezTo>
                  <a:pt x="11813" y="6421"/>
                  <a:pt x="11813" y="6516"/>
                  <a:pt x="11813" y="6611"/>
                </a:cubicBezTo>
                <a:cubicBezTo>
                  <a:pt x="11813" y="6865"/>
                  <a:pt x="11591" y="6928"/>
                  <a:pt x="11401" y="6928"/>
                </a:cubicBezTo>
                <a:cubicBezTo>
                  <a:pt x="11370" y="6928"/>
                  <a:pt x="11180" y="6770"/>
                  <a:pt x="11148" y="6738"/>
                </a:cubicBezTo>
                <a:cubicBezTo>
                  <a:pt x="11021" y="6643"/>
                  <a:pt x="10863" y="6548"/>
                  <a:pt x="10736" y="6453"/>
                </a:cubicBezTo>
                <a:cubicBezTo>
                  <a:pt x="10356" y="6200"/>
                  <a:pt x="10008" y="5946"/>
                  <a:pt x="9628" y="5661"/>
                </a:cubicBezTo>
                <a:cubicBezTo>
                  <a:pt x="9533" y="5630"/>
                  <a:pt x="9438" y="5503"/>
                  <a:pt x="9311" y="5471"/>
                </a:cubicBezTo>
                <a:cubicBezTo>
                  <a:pt x="9298" y="5468"/>
                  <a:pt x="9285" y="5466"/>
                  <a:pt x="9273" y="5466"/>
                </a:cubicBezTo>
                <a:cubicBezTo>
                  <a:pt x="9172" y="5466"/>
                  <a:pt x="9128" y="5577"/>
                  <a:pt x="9184" y="5661"/>
                </a:cubicBezTo>
                <a:cubicBezTo>
                  <a:pt x="9184" y="5693"/>
                  <a:pt x="9216" y="5725"/>
                  <a:pt x="9248" y="5756"/>
                </a:cubicBezTo>
                <a:cubicBezTo>
                  <a:pt x="9501" y="5915"/>
                  <a:pt x="9723" y="6105"/>
                  <a:pt x="9976" y="6263"/>
                </a:cubicBezTo>
                <a:cubicBezTo>
                  <a:pt x="10166" y="6421"/>
                  <a:pt x="10388" y="6548"/>
                  <a:pt x="10578" y="6706"/>
                </a:cubicBezTo>
                <a:cubicBezTo>
                  <a:pt x="10768" y="6833"/>
                  <a:pt x="10926" y="6960"/>
                  <a:pt x="11053" y="7087"/>
                </a:cubicBezTo>
                <a:cubicBezTo>
                  <a:pt x="11085" y="7118"/>
                  <a:pt x="11116" y="7118"/>
                  <a:pt x="11148" y="7150"/>
                </a:cubicBezTo>
                <a:cubicBezTo>
                  <a:pt x="11180" y="7213"/>
                  <a:pt x="11148" y="7340"/>
                  <a:pt x="11148" y="7403"/>
                </a:cubicBezTo>
                <a:cubicBezTo>
                  <a:pt x="11148" y="7688"/>
                  <a:pt x="10958" y="7752"/>
                  <a:pt x="10705" y="7752"/>
                </a:cubicBezTo>
                <a:cubicBezTo>
                  <a:pt x="10578" y="7720"/>
                  <a:pt x="10483" y="7720"/>
                  <a:pt x="10388" y="7625"/>
                </a:cubicBezTo>
                <a:lnTo>
                  <a:pt x="10040" y="7372"/>
                </a:lnTo>
                <a:cubicBezTo>
                  <a:pt x="9945" y="7277"/>
                  <a:pt x="9850" y="7182"/>
                  <a:pt x="9755" y="7087"/>
                </a:cubicBezTo>
                <a:cubicBezTo>
                  <a:pt x="9628" y="6992"/>
                  <a:pt x="9501" y="6865"/>
                  <a:pt x="9375" y="6770"/>
                </a:cubicBezTo>
                <a:cubicBezTo>
                  <a:pt x="9153" y="6611"/>
                  <a:pt x="8931" y="6453"/>
                  <a:pt x="8709" y="6326"/>
                </a:cubicBezTo>
                <a:cubicBezTo>
                  <a:pt x="8678" y="6295"/>
                  <a:pt x="8646" y="6263"/>
                  <a:pt x="8583" y="6263"/>
                </a:cubicBezTo>
                <a:cubicBezTo>
                  <a:pt x="8456" y="6263"/>
                  <a:pt x="8393" y="6390"/>
                  <a:pt x="8456" y="6485"/>
                </a:cubicBezTo>
                <a:cubicBezTo>
                  <a:pt x="8488" y="6548"/>
                  <a:pt x="8583" y="6580"/>
                  <a:pt x="8646" y="6611"/>
                </a:cubicBezTo>
                <a:cubicBezTo>
                  <a:pt x="8773" y="6706"/>
                  <a:pt x="8899" y="6801"/>
                  <a:pt x="9026" y="6896"/>
                </a:cubicBezTo>
                <a:cubicBezTo>
                  <a:pt x="9248" y="7087"/>
                  <a:pt x="9501" y="7277"/>
                  <a:pt x="9723" y="7467"/>
                </a:cubicBezTo>
                <a:cubicBezTo>
                  <a:pt x="9881" y="7593"/>
                  <a:pt x="10040" y="7783"/>
                  <a:pt x="10071" y="7973"/>
                </a:cubicBezTo>
                <a:cubicBezTo>
                  <a:pt x="10096" y="8149"/>
                  <a:pt x="9922" y="8205"/>
                  <a:pt x="9770" y="8205"/>
                </a:cubicBezTo>
                <a:cubicBezTo>
                  <a:pt x="9731" y="8205"/>
                  <a:pt x="9692" y="8201"/>
                  <a:pt x="9660" y="8195"/>
                </a:cubicBezTo>
                <a:cubicBezTo>
                  <a:pt x="9438" y="8132"/>
                  <a:pt x="9248" y="8005"/>
                  <a:pt x="9026" y="7878"/>
                </a:cubicBezTo>
                <a:cubicBezTo>
                  <a:pt x="8646" y="7625"/>
                  <a:pt x="8266" y="7308"/>
                  <a:pt x="7886" y="7023"/>
                </a:cubicBezTo>
                <a:cubicBezTo>
                  <a:pt x="7791" y="6960"/>
                  <a:pt x="7664" y="6896"/>
                  <a:pt x="7569" y="6833"/>
                </a:cubicBezTo>
                <a:cubicBezTo>
                  <a:pt x="7545" y="6809"/>
                  <a:pt x="7516" y="6799"/>
                  <a:pt x="7488" y="6799"/>
                </a:cubicBezTo>
                <a:cubicBezTo>
                  <a:pt x="7443" y="6799"/>
                  <a:pt x="7399" y="6826"/>
                  <a:pt x="7379" y="6865"/>
                </a:cubicBezTo>
                <a:cubicBezTo>
                  <a:pt x="7316" y="6960"/>
                  <a:pt x="7379" y="6992"/>
                  <a:pt x="7411" y="7055"/>
                </a:cubicBezTo>
                <a:cubicBezTo>
                  <a:pt x="7506" y="7087"/>
                  <a:pt x="8329" y="7720"/>
                  <a:pt x="8646" y="7942"/>
                </a:cubicBezTo>
                <a:cubicBezTo>
                  <a:pt x="8773" y="8068"/>
                  <a:pt x="8994" y="8195"/>
                  <a:pt x="9089" y="8385"/>
                </a:cubicBezTo>
                <a:cubicBezTo>
                  <a:pt x="9045" y="8520"/>
                  <a:pt x="8888" y="8559"/>
                  <a:pt x="8733" y="8559"/>
                </a:cubicBezTo>
                <a:cubicBezTo>
                  <a:pt x="8669" y="8559"/>
                  <a:pt x="8606" y="8552"/>
                  <a:pt x="8551" y="8543"/>
                </a:cubicBezTo>
                <a:cubicBezTo>
                  <a:pt x="8361" y="8480"/>
                  <a:pt x="8139" y="8417"/>
                  <a:pt x="7949" y="8322"/>
                </a:cubicBezTo>
                <a:cubicBezTo>
                  <a:pt x="8044" y="8005"/>
                  <a:pt x="8013" y="7530"/>
                  <a:pt x="7728" y="7308"/>
                </a:cubicBezTo>
                <a:cubicBezTo>
                  <a:pt x="7605" y="7185"/>
                  <a:pt x="7443" y="7116"/>
                  <a:pt x="7283" y="7116"/>
                </a:cubicBezTo>
                <a:cubicBezTo>
                  <a:pt x="7196" y="7116"/>
                  <a:pt x="7110" y="7137"/>
                  <a:pt x="7031" y="7182"/>
                </a:cubicBezTo>
                <a:cubicBezTo>
                  <a:pt x="6962" y="6882"/>
                  <a:pt x="6657" y="6615"/>
                  <a:pt x="6350" y="6615"/>
                </a:cubicBezTo>
                <a:cubicBezTo>
                  <a:pt x="6236" y="6615"/>
                  <a:pt x="6121" y="6652"/>
                  <a:pt x="6018" y="6738"/>
                </a:cubicBezTo>
                <a:cubicBezTo>
                  <a:pt x="5986" y="6516"/>
                  <a:pt x="5859" y="6295"/>
                  <a:pt x="5638" y="6168"/>
                </a:cubicBezTo>
                <a:cubicBezTo>
                  <a:pt x="5535" y="6107"/>
                  <a:pt x="5420" y="6072"/>
                  <a:pt x="5300" y="6072"/>
                </a:cubicBezTo>
                <a:cubicBezTo>
                  <a:pt x="5234" y="6072"/>
                  <a:pt x="5166" y="6082"/>
                  <a:pt x="5099" y="6105"/>
                </a:cubicBezTo>
                <a:cubicBezTo>
                  <a:pt x="5068" y="5978"/>
                  <a:pt x="5004" y="5851"/>
                  <a:pt x="4909" y="5756"/>
                </a:cubicBezTo>
                <a:cubicBezTo>
                  <a:pt x="4877" y="5725"/>
                  <a:pt x="4751" y="5693"/>
                  <a:pt x="4719" y="5661"/>
                </a:cubicBezTo>
                <a:cubicBezTo>
                  <a:pt x="4719" y="5630"/>
                  <a:pt x="4719" y="5598"/>
                  <a:pt x="4687" y="5566"/>
                </a:cubicBezTo>
                <a:cubicBezTo>
                  <a:pt x="4624" y="5440"/>
                  <a:pt x="4497" y="5313"/>
                  <a:pt x="4402" y="5250"/>
                </a:cubicBezTo>
                <a:cubicBezTo>
                  <a:pt x="3927" y="4870"/>
                  <a:pt x="3294" y="4680"/>
                  <a:pt x="2756" y="4490"/>
                </a:cubicBezTo>
                <a:lnTo>
                  <a:pt x="3991" y="1671"/>
                </a:lnTo>
                <a:close/>
                <a:moveTo>
                  <a:pt x="7320" y="7395"/>
                </a:moveTo>
                <a:cubicBezTo>
                  <a:pt x="7395" y="7395"/>
                  <a:pt x="7474" y="7419"/>
                  <a:pt x="7538" y="7467"/>
                </a:cubicBezTo>
                <a:cubicBezTo>
                  <a:pt x="7633" y="7562"/>
                  <a:pt x="7696" y="7720"/>
                  <a:pt x="7728" y="7847"/>
                </a:cubicBezTo>
                <a:cubicBezTo>
                  <a:pt x="7728" y="8037"/>
                  <a:pt x="7759" y="8258"/>
                  <a:pt x="7633" y="8417"/>
                </a:cubicBezTo>
                <a:cubicBezTo>
                  <a:pt x="7563" y="8509"/>
                  <a:pt x="7443" y="8568"/>
                  <a:pt x="7333" y="8568"/>
                </a:cubicBezTo>
                <a:cubicBezTo>
                  <a:pt x="7293" y="8568"/>
                  <a:pt x="7255" y="8560"/>
                  <a:pt x="7221" y="8543"/>
                </a:cubicBezTo>
                <a:cubicBezTo>
                  <a:pt x="7063" y="8448"/>
                  <a:pt x="6999" y="8258"/>
                  <a:pt x="6968" y="8068"/>
                </a:cubicBezTo>
                <a:cubicBezTo>
                  <a:pt x="6999" y="7973"/>
                  <a:pt x="7031" y="7878"/>
                  <a:pt x="7063" y="7783"/>
                </a:cubicBezTo>
                <a:cubicBezTo>
                  <a:pt x="7063" y="7688"/>
                  <a:pt x="7063" y="7562"/>
                  <a:pt x="7126" y="7467"/>
                </a:cubicBezTo>
                <a:cubicBezTo>
                  <a:pt x="7174" y="7419"/>
                  <a:pt x="7245" y="7395"/>
                  <a:pt x="7320" y="7395"/>
                </a:cubicBezTo>
                <a:close/>
                <a:moveTo>
                  <a:pt x="1914" y="0"/>
                </a:moveTo>
                <a:cubicBezTo>
                  <a:pt x="1868" y="0"/>
                  <a:pt x="1830" y="16"/>
                  <a:pt x="1806" y="56"/>
                </a:cubicBezTo>
                <a:cubicBezTo>
                  <a:pt x="1742" y="151"/>
                  <a:pt x="1679" y="278"/>
                  <a:pt x="1647" y="373"/>
                </a:cubicBezTo>
                <a:cubicBezTo>
                  <a:pt x="1552" y="626"/>
                  <a:pt x="254" y="3540"/>
                  <a:pt x="159" y="3761"/>
                </a:cubicBezTo>
                <a:cubicBezTo>
                  <a:pt x="127" y="3856"/>
                  <a:pt x="0" y="4046"/>
                  <a:pt x="95" y="4141"/>
                </a:cubicBezTo>
                <a:cubicBezTo>
                  <a:pt x="127" y="4205"/>
                  <a:pt x="190" y="4205"/>
                  <a:pt x="254" y="4236"/>
                </a:cubicBezTo>
                <a:cubicBezTo>
                  <a:pt x="349" y="4300"/>
                  <a:pt x="2027" y="4996"/>
                  <a:pt x="2249" y="5123"/>
                </a:cubicBezTo>
                <a:cubicBezTo>
                  <a:pt x="2291" y="5137"/>
                  <a:pt x="2340" y="5151"/>
                  <a:pt x="2384" y="5151"/>
                </a:cubicBezTo>
                <a:cubicBezTo>
                  <a:pt x="2438" y="5151"/>
                  <a:pt x="2485" y="5130"/>
                  <a:pt x="2502" y="5060"/>
                </a:cubicBezTo>
                <a:cubicBezTo>
                  <a:pt x="2566" y="4965"/>
                  <a:pt x="2597" y="4838"/>
                  <a:pt x="2661" y="4743"/>
                </a:cubicBezTo>
                <a:cubicBezTo>
                  <a:pt x="3009" y="4870"/>
                  <a:pt x="3389" y="4996"/>
                  <a:pt x="3769" y="5155"/>
                </a:cubicBezTo>
                <a:cubicBezTo>
                  <a:pt x="3991" y="5281"/>
                  <a:pt x="4212" y="5408"/>
                  <a:pt x="4371" y="5598"/>
                </a:cubicBezTo>
                <a:cubicBezTo>
                  <a:pt x="3991" y="5630"/>
                  <a:pt x="3801" y="6041"/>
                  <a:pt x="3896" y="6390"/>
                </a:cubicBezTo>
                <a:cubicBezTo>
                  <a:pt x="3954" y="6652"/>
                  <a:pt x="4280" y="6967"/>
                  <a:pt x="4603" y="6967"/>
                </a:cubicBezTo>
                <a:cubicBezTo>
                  <a:pt x="4631" y="6967"/>
                  <a:pt x="4659" y="6965"/>
                  <a:pt x="4687" y="6960"/>
                </a:cubicBezTo>
                <a:cubicBezTo>
                  <a:pt x="4687" y="7182"/>
                  <a:pt x="4846" y="7372"/>
                  <a:pt x="5004" y="7530"/>
                </a:cubicBezTo>
                <a:cubicBezTo>
                  <a:pt x="5139" y="7646"/>
                  <a:pt x="5287" y="7715"/>
                  <a:pt x="5438" y="7715"/>
                </a:cubicBezTo>
                <a:cubicBezTo>
                  <a:pt x="5535" y="7715"/>
                  <a:pt x="5634" y="7687"/>
                  <a:pt x="5733" y="7625"/>
                </a:cubicBezTo>
                <a:cubicBezTo>
                  <a:pt x="5782" y="7997"/>
                  <a:pt x="6065" y="8389"/>
                  <a:pt x="6429" y="8389"/>
                </a:cubicBezTo>
                <a:cubicBezTo>
                  <a:pt x="6529" y="8389"/>
                  <a:pt x="6636" y="8359"/>
                  <a:pt x="6746" y="8290"/>
                </a:cubicBezTo>
                <a:cubicBezTo>
                  <a:pt x="6809" y="8543"/>
                  <a:pt x="6968" y="8733"/>
                  <a:pt x="7221" y="8828"/>
                </a:cubicBezTo>
                <a:cubicBezTo>
                  <a:pt x="7260" y="8840"/>
                  <a:pt x="7302" y="8845"/>
                  <a:pt x="7344" y="8845"/>
                </a:cubicBezTo>
                <a:cubicBezTo>
                  <a:pt x="7539" y="8845"/>
                  <a:pt x="7750" y="8731"/>
                  <a:pt x="7854" y="8575"/>
                </a:cubicBezTo>
                <a:cubicBezTo>
                  <a:pt x="8139" y="8733"/>
                  <a:pt x="8519" y="8828"/>
                  <a:pt x="8836" y="8828"/>
                </a:cubicBezTo>
                <a:cubicBezTo>
                  <a:pt x="9089" y="8797"/>
                  <a:pt x="9343" y="8638"/>
                  <a:pt x="9375" y="8353"/>
                </a:cubicBezTo>
                <a:cubicBezTo>
                  <a:pt x="9509" y="8420"/>
                  <a:pt x="9659" y="8488"/>
                  <a:pt x="9814" y="8488"/>
                </a:cubicBezTo>
                <a:cubicBezTo>
                  <a:pt x="9878" y="8488"/>
                  <a:pt x="9943" y="8476"/>
                  <a:pt x="10008" y="8448"/>
                </a:cubicBezTo>
                <a:cubicBezTo>
                  <a:pt x="10230" y="8353"/>
                  <a:pt x="10388" y="8195"/>
                  <a:pt x="10356" y="7942"/>
                </a:cubicBezTo>
                <a:lnTo>
                  <a:pt x="10356" y="7942"/>
                </a:lnTo>
                <a:cubicBezTo>
                  <a:pt x="10483" y="7989"/>
                  <a:pt x="10633" y="8021"/>
                  <a:pt x="10780" y="8021"/>
                </a:cubicBezTo>
                <a:cubicBezTo>
                  <a:pt x="10926" y="8021"/>
                  <a:pt x="11069" y="7989"/>
                  <a:pt x="11180" y="7910"/>
                </a:cubicBezTo>
                <a:cubicBezTo>
                  <a:pt x="11433" y="7783"/>
                  <a:pt x="11465" y="7467"/>
                  <a:pt x="11433" y="7213"/>
                </a:cubicBezTo>
                <a:cubicBezTo>
                  <a:pt x="11655" y="7182"/>
                  <a:pt x="11908" y="7118"/>
                  <a:pt x="12035" y="6896"/>
                </a:cubicBezTo>
                <a:cubicBezTo>
                  <a:pt x="12098" y="6770"/>
                  <a:pt x="12098" y="6643"/>
                  <a:pt x="12098" y="6485"/>
                </a:cubicBezTo>
                <a:cubicBezTo>
                  <a:pt x="12098" y="6421"/>
                  <a:pt x="12098" y="6358"/>
                  <a:pt x="12066" y="6326"/>
                </a:cubicBezTo>
                <a:cubicBezTo>
                  <a:pt x="12066" y="6263"/>
                  <a:pt x="12035" y="6263"/>
                  <a:pt x="12066" y="6263"/>
                </a:cubicBezTo>
                <a:cubicBezTo>
                  <a:pt x="12098" y="6231"/>
                  <a:pt x="12130" y="6231"/>
                  <a:pt x="12161" y="6200"/>
                </a:cubicBezTo>
                <a:cubicBezTo>
                  <a:pt x="12288" y="6136"/>
                  <a:pt x="12383" y="6010"/>
                  <a:pt x="12446" y="5883"/>
                </a:cubicBezTo>
                <a:cubicBezTo>
                  <a:pt x="12510" y="5820"/>
                  <a:pt x="12541" y="5725"/>
                  <a:pt x="12636" y="5661"/>
                </a:cubicBezTo>
                <a:cubicBezTo>
                  <a:pt x="12795" y="5535"/>
                  <a:pt x="12953" y="5408"/>
                  <a:pt x="13111" y="5281"/>
                </a:cubicBezTo>
                <a:cubicBezTo>
                  <a:pt x="13143" y="5376"/>
                  <a:pt x="13175" y="5566"/>
                  <a:pt x="13270" y="5630"/>
                </a:cubicBezTo>
                <a:cubicBezTo>
                  <a:pt x="13298" y="5639"/>
                  <a:pt x="13323" y="5643"/>
                  <a:pt x="13346" y="5643"/>
                </a:cubicBezTo>
                <a:cubicBezTo>
                  <a:pt x="13402" y="5643"/>
                  <a:pt x="13447" y="5620"/>
                  <a:pt x="13491" y="5598"/>
                </a:cubicBezTo>
                <a:cubicBezTo>
                  <a:pt x="13745" y="5503"/>
                  <a:pt x="15423" y="4775"/>
                  <a:pt x="15518" y="4711"/>
                </a:cubicBezTo>
                <a:cubicBezTo>
                  <a:pt x="15582" y="4680"/>
                  <a:pt x="15708" y="4648"/>
                  <a:pt x="15677" y="4521"/>
                </a:cubicBezTo>
                <a:cubicBezTo>
                  <a:pt x="15677" y="4521"/>
                  <a:pt x="15677" y="4521"/>
                  <a:pt x="15677" y="4490"/>
                </a:cubicBezTo>
                <a:cubicBezTo>
                  <a:pt x="15233" y="3508"/>
                  <a:pt x="14157" y="1038"/>
                  <a:pt x="14062" y="816"/>
                </a:cubicBezTo>
                <a:cubicBezTo>
                  <a:pt x="14002" y="727"/>
                  <a:pt x="13970" y="497"/>
                  <a:pt x="13835" y="497"/>
                </a:cubicBezTo>
                <a:cubicBezTo>
                  <a:pt x="13826" y="497"/>
                  <a:pt x="13817" y="498"/>
                  <a:pt x="13808" y="499"/>
                </a:cubicBezTo>
                <a:cubicBezTo>
                  <a:pt x="13745" y="499"/>
                  <a:pt x="13681" y="531"/>
                  <a:pt x="13650" y="563"/>
                </a:cubicBezTo>
                <a:cubicBezTo>
                  <a:pt x="13523" y="626"/>
                  <a:pt x="13428" y="658"/>
                  <a:pt x="13301" y="721"/>
                </a:cubicBezTo>
                <a:cubicBezTo>
                  <a:pt x="12985" y="848"/>
                  <a:pt x="11908" y="1323"/>
                  <a:pt x="11718" y="1418"/>
                </a:cubicBezTo>
                <a:cubicBezTo>
                  <a:pt x="11655" y="1418"/>
                  <a:pt x="11623" y="1449"/>
                  <a:pt x="11591" y="1481"/>
                </a:cubicBezTo>
                <a:cubicBezTo>
                  <a:pt x="11433" y="1544"/>
                  <a:pt x="11528" y="1671"/>
                  <a:pt x="11560" y="1766"/>
                </a:cubicBezTo>
                <a:cubicBezTo>
                  <a:pt x="11338" y="1924"/>
                  <a:pt x="11085" y="1988"/>
                  <a:pt x="10800" y="2019"/>
                </a:cubicBezTo>
                <a:cubicBezTo>
                  <a:pt x="10749" y="2025"/>
                  <a:pt x="10700" y="2028"/>
                  <a:pt x="10651" y="2028"/>
                </a:cubicBezTo>
                <a:cubicBezTo>
                  <a:pt x="10424" y="2028"/>
                  <a:pt x="10211" y="1971"/>
                  <a:pt x="9976" y="1893"/>
                </a:cubicBezTo>
                <a:cubicBezTo>
                  <a:pt x="9660" y="1798"/>
                  <a:pt x="9375" y="1703"/>
                  <a:pt x="9058" y="1576"/>
                </a:cubicBezTo>
                <a:cubicBezTo>
                  <a:pt x="8878" y="1525"/>
                  <a:pt x="8678" y="1432"/>
                  <a:pt x="8474" y="1432"/>
                </a:cubicBezTo>
                <a:cubicBezTo>
                  <a:pt x="8426" y="1432"/>
                  <a:pt x="8378" y="1437"/>
                  <a:pt x="8329" y="1449"/>
                </a:cubicBezTo>
                <a:cubicBezTo>
                  <a:pt x="8203" y="1481"/>
                  <a:pt x="8076" y="1513"/>
                  <a:pt x="7949" y="1576"/>
                </a:cubicBezTo>
                <a:cubicBezTo>
                  <a:pt x="7873" y="1576"/>
                  <a:pt x="7797" y="1617"/>
                  <a:pt x="7721" y="1617"/>
                </a:cubicBezTo>
                <a:cubicBezTo>
                  <a:pt x="7702" y="1617"/>
                  <a:pt x="7683" y="1614"/>
                  <a:pt x="7664" y="1608"/>
                </a:cubicBezTo>
                <a:lnTo>
                  <a:pt x="7284" y="1608"/>
                </a:lnTo>
                <a:cubicBezTo>
                  <a:pt x="6983" y="1592"/>
                  <a:pt x="6675" y="1584"/>
                  <a:pt x="6366" y="1584"/>
                </a:cubicBezTo>
                <a:cubicBezTo>
                  <a:pt x="6057" y="1584"/>
                  <a:pt x="5748" y="1592"/>
                  <a:pt x="5448" y="1608"/>
                </a:cubicBezTo>
                <a:lnTo>
                  <a:pt x="4814" y="1608"/>
                </a:lnTo>
                <a:cubicBezTo>
                  <a:pt x="4561" y="1576"/>
                  <a:pt x="4339" y="1513"/>
                  <a:pt x="4086" y="1418"/>
                </a:cubicBezTo>
                <a:cubicBezTo>
                  <a:pt x="4149" y="1323"/>
                  <a:pt x="4276" y="1133"/>
                  <a:pt x="4212" y="1038"/>
                </a:cubicBezTo>
                <a:cubicBezTo>
                  <a:pt x="4181" y="974"/>
                  <a:pt x="4117" y="943"/>
                  <a:pt x="4054" y="911"/>
                </a:cubicBezTo>
                <a:cubicBezTo>
                  <a:pt x="3801" y="816"/>
                  <a:pt x="2629" y="309"/>
                  <a:pt x="2344" y="183"/>
                </a:cubicBezTo>
                <a:cubicBezTo>
                  <a:pt x="2249" y="135"/>
                  <a:pt x="2049" y="0"/>
                  <a:pt x="19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" name="Google Shape;2182;p24">
            <a:extLst>
              <a:ext uri="{FF2B5EF4-FFF2-40B4-BE49-F238E27FC236}">
                <a16:creationId xmlns:a16="http://schemas.microsoft.com/office/drawing/2014/main" id="{AB5D3811-981C-B871-1A8F-09AA6A37669A}"/>
              </a:ext>
            </a:extLst>
          </p:cNvPr>
          <p:cNvSpPr/>
          <p:nvPr/>
        </p:nvSpPr>
        <p:spPr>
          <a:xfrm>
            <a:off x="8229499" y="2185391"/>
            <a:ext cx="539775" cy="540851"/>
          </a:xfrm>
          <a:custGeom>
            <a:avLst/>
            <a:gdLst/>
            <a:ahLst/>
            <a:cxnLst/>
            <a:rect l="l" t="t" r="r" b="b"/>
            <a:pathLst>
              <a:path w="15551" h="15582" extrusionOk="0">
                <a:moveTo>
                  <a:pt x="6556" y="0"/>
                </a:moveTo>
                <a:cubicBezTo>
                  <a:pt x="5954" y="0"/>
                  <a:pt x="5479" y="507"/>
                  <a:pt x="5479" y="1077"/>
                </a:cubicBezTo>
                <a:lnTo>
                  <a:pt x="5479" y="2249"/>
                </a:lnTo>
                <a:lnTo>
                  <a:pt x="4656" y="1425"/>
                </a:lnTo>
                <a:cubicBezTo>
                  <a:pt x="4434" y="1204"/>
                  <a:pt x="4181" y="1109"/>
                  <a:pt x="3896" y="1109"/>
                </a:cubicBezTo>
                <a:cubicBezTo>
                  <a:pt x="3611" y="1109"/>
                  <a:pt x="3326" y="1204"/>
                  <a:pt x="3136" y="1425"/>
                </a:cubicBezTo>
                <a:lnTo>
                  <a:pt x="1394" y="3167"/>
                </a:lnTo>
                <a:cubicBezTo>
                  <a:pt x="982" y="3579"/>
                  <a:pt x="982" y="4244"/>
                  <a:pt x="1394" y="4655"/>
                </a:cubicBezTo>
                <a:lnTo>
                  <a:pt x="2217" y="5479"/>
                </a:lnTo>
                <a:lnTo>
                  <a:pt x="1046" y="5479"/>
                </a:lnTo>
                <a:cubicBezTo>
                  <a:pt x="476" y="5479"/>
                  <a:pt x="1" y="5986"/>
                  <a:pt x="1" y="6556"/>
                </a:cubicBezTo>
                <a:lnTo>
                  <a:pt x="1" y="9026"/>
                </a:lnTo>
                <a:cubicBezTo>
                  <a:pt x="1" y="9596"/>
                  <a:pt x="476" y="10071"/>
                  <a:pt x="1046" y="10071"/>
                </a:cubicBezTo>
                <a:lnTo>
                  <a:pt x="2217" y="10071"/>
                </a:lnTo>
                <a:lnTo>
                  <a:pt x="1394" y="10926"/>
                </a:lnTo>
                <a:cubicBezTo>
                  <a:pt x="982" y="11338"/>
                  <a:pt x="982" y="12003"/>
                  <a:pt x="1394" y="12414"/>
                </a:cubicBezTo>
                <a:lnTo>
                  <a:pt x="3136" y="14156"/>
                </a:lnTo>
                <a:cubicBezTo>
                  <a:pt x="3326" y="14378"/>
                  <a:pt x="3611" y="14473"/>
                  <a:pt x="3896" y="14473"/>
                </a:cubicBezTo>
                <a:cubicBezTo>
                  <a:pt x="4181" y="14473"/>
                  <a:pt x="4434" y="14378"/>
                  <a:pt x="4656" y="14156"/>
                </a:cubicBezTo>
                <a:lnTo>
                  <a:pt x="5479" y="13333"/>
                </a:lnTo>
                <a:lnTo>
                  <a:pt x="5479" y="14504"/>
                </a:lnTo>
                <a:cubicBezTo>
                  <a:pt x="5479" y="15075"/>
                  <a:pt x="5954" y="15581"/>
                  <a:pt x="6556" y="15581"/>
                </a:cubicBezTo>
                <a:lnTo>
                  <a:pt x="8995" y="15581"/>
                </a:lnTo>
                <a:cubicBezTo>
                  <a:pt x="9596" y="15581"/>
                  <a:pt x="10071" y="15075"/>
                  <a:pt x="10071" y="14504"/>
                </a:cubicBezTo>
                <a:lnTo>
                  <a:pt x="10071" y="13333"/>
                </a:lnTo>
                <a:lnTo>
                  <a:pt x="10895" y="14156"/>
                </a:lnTo>
                <a:cubicBezTo>
                  <a:pt x="11116" y="14378"/>
                  <a:pt x="11370" y="14473"/>
                  <a:pt x="11655" y="14473"/>
                </a:cubicBezTo>
                <a:cubicBezTo>
                  <a:pt x="11940" y="14473"/>
                  <a:pt x="12225" y="14378"/>
                  <a:pt x="12415" y="14156"/>
                </a:cubicBezTo>
                <a:lnTo>
                  <a:pt x="14157" y="12414"/>
                </a:lnTo>
                <a:cubicBezTo>
                  <a:pt x="14568" y="12003"/>
                  <a:pt x="14568" y="11338"/>
                  <a:pt x="14157" y="10926"/>
                </a:cubicBezTo>
                <a:lnTo>
                  <a:pt x="13333" y="10102"/>
                </a:lnTo>
                <a:lnTo>
                  <a:pt x="14505" y="10102"/>
                </a:lnTo>
                <a:cubicBezTo>
                  <a:pt x="15075" y="10102"/>
                  <a:pt x="15550" y="9596"/>
                  <a:pt x="15550" y="9026"/>
                </a:cubicBezTo>
                <a:lnTo>
                  <a:pt x="15550" y="6556"/>
                </a:lnTo>
                <a:cubicBezTo>
                  <a:pt x="15550" y="5986"/>
                  <a:pt x="15075" y="5510"/>
                  <a:pt x="14505" y="5510"/>
                </a:cubicBezTo>
                <a:lnTo>
                  <a:pt x="13333" y="5510"/>
                </a:lnTo>
                <a:lnTo>
                  <a:pt x="14157" y="4655"/>
                </a:lnTo>
                <a:cubicBezTo>
                  <a:pt x="14568" y="4275"/>
                  <a:pt x="14568" y="3579"/>
                  <a:pt x="14157" y="3167"/>
                </a:cubicBezTo>
                <a:lnTo>
                  <a:pt x="12415" y="1425"/>
                </a:lnTo>
                <a:cubicBezTo>
                  <a:pt x="12225" y="1235"/>
                  <a:pt x="11940" y="1109"/>
                  <a:pt x="11655" y="1109"/>
                </a:cubicBezTo>
                <a:cubicBezTo>
                  <a:pt x="11370" y="1109"/>
                  <a:pt x="11116" y="1235"/>
                  <a:pt x="10895" y="1425"/>
                </a:cubicBezTo>
                <a:lnTo>
                  <a:pt x="10071" y="2249"/>
                </a:lnTo>
                <a:lnTo>
                  <a:pt x="10071" y="1077"/>
                </a:lnTo>
                <a:cubicBezTo>
                  <a:pt x="10071" y="507"/>
                  <a:pt x="9596" y="0"/>
                  <a:pt x="8995" y="0"/>
                </a:cubicBezTo>
                <a:close/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Google Shape;2184;p24">
            <a:extLst>
              <a:ext uri="{FF2B5EF4-FFF2-40B4-BE49-F238E27FC236}">
                <a16:creationId xmlns:a16="http://schemas.microsoft.com/office/drawing/2014/main" id="{D7321CCC-69F2-AAA2-E1EF-6544AF4C5A47}"/>
              </a:ext>
            </a:extLst>
          </p:cNvPr>
          <p:cNvSpPr/>
          <p:nvPr/>
        </p:nvSpPr>
        <p:spPr>
          <a:xfrm>
            <a:off x="8421544" y="2398890"/>
            <a:ext cx="152828" cy="151717"/>
          </a:xfrm>
          <a:custGeom>
            <a:avLst/>
            <a:gdLst/>
            <a:ahLst/>
            <a:cxnLst/>
            <a:rect l="l" t="t" r="r" b="b"/>
            <a:pathLst>
              <a:path w="4403" h="4371" extrusionOk="0">
                <a:moveTo>
                  <a:pt x="2217" y="634"/>
                </a:moveTo>
                <a:cubicBezTo>
                  <a:pt x="3072" y="634"/>
                  <a:pt x="3769" y="1331"/>
                  <a:pt x="3769" y="2186"/>
                </a:cubicBezTo>
                <a:cubicBezTo>
                  <a:pt x="3769" y="3041"/>
                  <a:pt x="3072" y="3769"/>
                  <a:pt x="2217" y="3769"/>
                </a:cubicBezTo>
                <a:cubicBezTo>
                  <a:pt x="1330" y="3769"/>
                  <a:pt x="634" y="3041"/>
                  <a:pt x="634" y="2186"/>
                </a:cubicBezTo>
                <a:cubicBezTo>
                  <a:pt x="634" y="1331"/>
                  <a:pt x="1330" y="634"/>
                  <a:pt x="2217" y="634"/>
                </a:cubicBezTo>
                <a:close/>
                <a:moveTo>
                  <a:pt x="2217" y="1"/>
                </a:moveTo>
                <a:cubicBezTo>
                  <a:pt x="982" y="1"/>
                  <a:pt x="0" y="982"/>
                  <a:pt x="0" y="2186"/>
                </a:cubicBezTo>
                <a:cubicBezTo>
                  <a:pt x="0" y="3389"/>
                  <a:pt x="982" y="4371"/>
                  <a:pt x="2217" y="4371"/>
                </a:cubicBezTo>
                <a:cubicBezTo>
                  <a:pt x="3421" y="4371"/>
                  <a:pt x="4402" y="3389"/>
                  <a:pt x="4402" y="2186"/>
                </a:cubicBezTo>
                <a:cubicBezTo>
                  <a:pt x="4402" y="982"/>
                  <a:pt x="3421" y="1"/>
                  <a:pt x="2217" y="1"/>
                </a:cubicBezTo>
                <a:close/>
              </a:path>
            </a:pathLst>
          </a:custGeom>
          <a:solidFill>
            <a:srgbClr val="F2A36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2185;p24">
            <a:extLst>
              <a:ext uri="{FF2B5EF4-FFF2-40B4-BE49-F238E27FC236}">
                <a16:creationId xmlns:a16="http://schemas.microsoft.com/office/drawing/2014/main" id="{D482FF7B-FFDD-7258-8CEB-412E9C4E959A}"/>
              </a:ext>
            </a:extLst>
          </p:cNvPr>
          <p:cNvSpPr/>
          <p:nvPr/>
        </p:nvSpPr>
        <p:spPr>
          <a:xfrm>
            <a:off x="8471940" y="2443449"/>
            <a:ext cx="53905" cy="53905"/>
          </a:xfrm>
          <a:custGeom>
            <a:avLst/>
            <a:gdLst/>
            <a:ahLst/>
            <a:cxnLst/>
            <a:rect l="l" t="t" r="r" b="b"/>
            <a:pathLst>
              <a:path w="1553" h="1553" extrusionOk="0">
                <a:moveTo>
                  <a:pt x="792" y="222"/>
                </a:moveTo>
                <a:cubicBezTo>
                  <a:pt x="1077" y="222"/>
                  <a:pt x="1331" y="476"/>
                  <a:pt x="1331" y="761"/>
                </a:cubicBezTo>
                <a:cubicBezTo>
                  <a:pt x="1331" y="1077"/>
                  <a:pt x="1077" y="1331"/>
                  <a:pt x="792" y="1331"/>
                </a:cubicBezTo>
                <a:cubicBezTo>
                  <a:pt x="475" y="1331"/>
                  <a:pt x="222" y="1077"/>
                  <a:pt x="222" y="761"/>
                </a:cubicBezTo>
                <a:cubicBezTo>
                  <a:pt x="222" y="476"/>
                  <a:pt x="475" y="222"/>
                  <a:pt x="792" y="222"/>
                </a:cubicBezTo>
                <a:close/>
                <a:moveTo>
                  <a:pt x="792" y="1"/>
                </a:moveTo>
                <a:cubicBezTo>
                  <a:pt x="349" y="1"/>
                  <a:pt x="0" y="349"/>
                  <a:pt x="0" y="761"/>
                </a:cubicBezTo>
                <a:cubicBezTo>
                  <a:pt x="0" y="1204"/>
                  <a:pt x="349" y="1552"/>
                  <a:pt x="792" y="1552"/>
                </a:cubicBezTo>
                <a:cubicBezTo>
                  <a:pt x="1204" y="1552"/>
                  <a:pt x="1552" y="1204"/>
                  <a:pt x="1552" y="761"/>
                </a:cubicBezTo>
                <a:cubicBezTo>
                  <a:pt x="1552" y="349"/>
                  <a:pt x="1204" y="1"/>
                  <a:pt x="792" y="1"/>
                </a:cubicBezTo>
                <a:close/>
              </a:path>
            </a:pathLst>
          </a:custGeom>
          <a:solidFill>
            <a:srgbClr val="22283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0F889D-2A7D-0FF5-3132-EBA1919372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0F6B279-DB99-9C6C-E021-FE92B63158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  <p:sp>
        <p:nvSpPr>
          <p:cNvPr id="14" name="Google Shape;2592;p30">
            <a:extLst>
              <a:ext uri="{FF2B5EF4-FFF2-40B4-BE49-F238E27FC236}">
                <a16:creationId xmlns:a16="http://schemas.microsoft.com/office/drawing/2014/main" id="{1DF47B81-5B4E-0463-D73D-CD6B8C42BCE3}"/>
              </a:ext>
            </a:extLst>
          </p:cNvPr>
          <p:cNvSpPr/>
          <p:nvPr/>
        </p:nvSpPr>
        <p:spPr>
          <a:xfrm>
            <a:off x="10267948" y="3677123"/>
            <a:ext cx="210306" cy="211569"/>
          </a:xfrm>
          <a:custGeom>
            <a:avLst/>
            <a:gdLst/>
            <a:ahLst/>
            <a:cxnLst/>
            <a:rect l="l" t="t" r="r" b="b"/>
            <a:pathLst>
              <a:path w="5163" h="5194" extrusionOk="0">
                <a:moveTo>
                  <a:pt x="2598" y="0"/>
                </a:moveTo>
                <a:cubicBezTo>
                  <a:pt x="1141" y="0"/>
                  <a:pt x="1" y="1172"/>
                  <a:pt x="1" y="2597"/>
                </a:cubicBezTo>
                <a:cubicBezTo>
                  <a:pt x="1" y="4022"/>
                  <a:pt x="1141" y="5194"/>
                  <a:pt x="2598" y="5194"/>
                </a:cubicBezTo>
                <a:cubicBezTo>
                  <a:pt x="4023" y="5194"/>
                  <a:pt x="5163" y="4022"/>
                  <a:pt x="5163" y="2597"/>
                </a:cubicBezTo>
                <a:cubicBezTo>
                  <a:pt x="5163" y="1172"/>
                  <a:pt x="4023" y="0"/>
                  <a:pt x="2598" y="0"/>
                </a:cubicBezTo>
                <a:close/>
              </a:path>
            </a:pathLst>
          </a:custGeom>
          <a:solidFill>
            <a:srgbClr val="CECEC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45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9">
            <a:extLst>
              <a:ext uri="{FF2B5EF4-FFF2-40B4-BE49-F238E27FC236}">
                <a16:creationId xmlns:a16="http://schemas.microsoft.com/office/drawing/2014/main" id="{28FB04A7-9830-93EA-4839-AE1266C6F535}"/>
              </a:ext>
            </a:extLst>
          </p:cNvPr>
          <p:cNvSpPr txBox="1">
            <a:spLocks/>
          </p:cNvSpPr>
          <p:nvPr/>
        </p:nvSpPr>
        <p:spPr>
          <a:xfrm>
            <a:off x="3210425" y="211682"/>
            <a:ext cx="5976424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 normalizeH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tential Partnership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78D158-6E6A-2C2E-BE7D-F05697E67B28}"/>
              </a:ext>
            </a:extLst>
          </p:cNvPr>
          <p:cNvGrpSpPr/>
          <p:nvPr/>
        </p:nvGrpSpPr>
        <p:grpSpPr>
          <a:xfrm>
            <a:off x="2662148" y="1256105"/>
            <a:ext cx="7072977" cy="4864137"/>
            <a:chOff x="1011843" y="1677391"/>
            <a:chExt cx="7072977" cy="486413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279A8D-F259-8759-A209-34037DEB5B16}"/>
                </a:ext>
              </a:extLst>
            </p:cNvPr>
            <p:cNvGrpSpPr/>
            <p:nvPr/>
          </p:nvGrpSpPr>
          <p:grpSpPr>
            <a:xfrm>
              <a:off x="2965919" y="2839741"/>
              <a:ext cx="3115790" cy="3064314"/>
              <a:chOff x="2787370" y="2311543"/>
              <a:chExt cx="3427369" cy="3370745"/>
            </a:xfrm>
          </p:grpSpPr>
          <p:sp>
            <p:nvSpPr>
              <p:cNvPr id="78" name="Freeform 52">
                <a:extLst>
                  <a:ext uri="{FF2B5EF4-FFF2-40B4-BE49-F238E27FC236}">
                    <a16:creationId xmlns:a16="http://schemas.microsoft.com/office/drawing/2014/main" id="{E9D973FE-7FD5-737D-469C-21695600C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995" y="3360737"/>
                <a:ext cx="1247708" cy="2321551"/>
              </a:xfrm>
              <a:custGeom>
                <a:avLst/>
                <a:gdLst>
                  <a:gd name="T0" fmla="*/ 792 w 792"/>
                  <a:gd name="T1" fmla="*/ 1302 h 1474"/>
                  <a:gd name="T2" fmla="*/ 149 w 792"/>
                  <a:gd name="T3" fmla="*/ 1185 h 1474"/>
                  <a:gd name="T4" fmla="*/ 29 w 792"/>
                  <a:gd name="T5" fmla="*/ 717 h 1474"/>
                  <a:gd name="T6" fmla="*/ 179 w 792"/>
                  <a:gd name="T7" fmla="*/ 73 h 1474"/>
                  <a:gd name="T8" fmla="*/ 608 w 792"/>
                  <a:gd name="T9" fmla="*/ 33 h 1474"/>
                  <a:gd name="T10" fmla="*/ 239 w 792"/>
                  <a:gd name="T11" fmla="*/ 966 h 1474"/>
                  <a:gd name="T12" fmla="*/ 758 w 792"/>
                  <a:gd name="T13" fmla="*/ 1290 h 1474"/>
                  <a:gd name="T14" fmla="*/ 792 w 792"/>
                  <a:gd name="T15" fmla="*/ 1302 h 1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2" h="1474">
                    <a:moveTo>
                      <a:pt x="792" y="1302"/>
                    </a:moveTo>
                    <a:cubicBezTo>
                      <a:pt x="792" y="1302"/>
                      <a:pt x="365" y="1459"/>
                      <a:pt x="149" y="1185"/>
                    </a:cubicBezTo>
                    <a:cubicBezTo>
                      <a:pt x="52" y="1062"/>
                      <a:pt x="54" y="905"/>
                      <a:pt x="29" y="717"/>
                    </a:cubicBezTo>
                    <a:cubicBezTo>
                      <a:pt x="0" y="495"/>
                      <a:pt x="95" y="219"/>
                      <a:pt x="179" y="73"/>
                    </a:cubicBezTo>
                    <a:cubicBezTo>
                      <a:pt x="179" y="73"/>
                      <a:pt x="352" y="0"/>
                      <a:pt x="608" y="33"/>
                    </a:cubicBezTo>
                    <a:cubicBezTo>
                      <a:pt x="608" y="33"/>
                      <a:pt x="216" y="534"/>
                      <a:pt x="239" y="966"/>
                    </a:cubicBezTo>
                    <a:cubicBezTo>
                      <a:pt x="239" y="966"/>
                      <a:pt x="232" y="1474"/>
                      <a:pt x="758" y="1290"/>
                    </a:cubicBezTo>
                    <a:lnTo>
                      <a:pt x="792" y="1302"/>
                    </a:lnTo>
                    <a:close/>
                  </a:path>
                </a:pathLst>
              </a:custGeom>
              <a:solidFill>
                <a:srgbClr val="78D2D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1C168AB4-3100-6A84-DF52-F20CF82A1C0E}"/>
                  </a:ext>
                </a:extLst>
              </p:cNvPr>
              <p:cNvGrpSpPr/>
              <p:nvPr/>
            </p:nvGrpSpPr>
            <p:grpSpPr>
              <a:xfrm>
                <a:off x="2983887" y="2566680"/>
                <a:ext cx="2930416" cy="3007025"/>
                <a:chOff x="2983887" y="2297131"/>
                <a:chExt cx="2930416" cy="3007025"/>
              </a:xfrm>
            </p:grpSpPr>
            <p:sp>
              <p:nvSpPr>
                <p:cNvPr id="94" name="Freeform 45">
                  <a:extLst>
                    <a:ext uri="{FF2B5EF4-FFF2-40B4-BE49-F238E27FC236}">
                      <a16:creationId xmlns:a16="http://schemas.microsoft.com/office/drawing/2014/main" id="{2A1019CF-D5E4-3122-52A0-D0DA9E43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3887" y="3338331"/>
                  <a:ext cx="408354" cy="836025"/>
                </a:xfrm>
                <a:custGeom>
                  <a:avLst/>
                  <a:gdLst>
                    <a:gd name="T0" fmla="*/ 215 w 259"/>
                    <a:gd name="T1" fmla="*/ 0 h 531"/>
                    <a:gd name="T2" fmla="*/ 218 w 259"/>
                    <a:gd name="T3" fmla="*/ 531 h 531"/>
                    <a:gd name="T4" fmla="*/ 259 w 259"/>
                    <a:gd name="T5" fmla="*/ 199 h 531"/>
                    <a:gd name="T6" fmla="*/ 215 w 259"/>
                    <a:gd name="T7" fmla="*/ 0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9" h="531">
                      <a:moveTo>
                        <a:pt x="215" y="0"/>
                      </a:moveTo>
                      <a:cubicBezTo>
                        <a:pt x="106" y="87"/>
                        <a:pt x="0" y="257"/>
                        <a:pt x="218" y="531"/>
                      </a:cubicBezTo>
                      <a:cubicBezTo>
                        <a:pt x="202" y="384"/>
                        <a:pt x="259" y="199"/>
                        <a:pt x="259" y="199"/>
                      </a:cubicBezTo>
                      <a:cubicBezTo>
                        <a:pt x="207" y="139"/>
                        <a:pt x="215" y="0"/>
                        <a:pt x="215" y="0"/>
                      </a:cubicBez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5" name="Freeform 46">
                  <a:extLst>
                    <a:ext uri="{FF2B5EF4-FFF2-40B4-BE49-F238E27FC236}">
                      <a16:creationId xmlns:a16="http://schemas.microsoft.com/office/drawing/2014/main" id="{F72A78C8-C36E-D3EE-1366-39B209189B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9337" y="4878482"/>
                  <a:ext cx="774739" cy="425674"/>
                </a:xfrm>
                <a:custGeom>
                  <a:avLst/>
                  <a:gdLst>
                    <a:gd name="T0" fmla="*/ 0 w 492"/>
                    <a:gd name="T1" fmla="*/ 0 h 270"/>
                    <a:gd name="T2" fmla="*/ 492 w 492"/>
                    <a:gd name="T3" fmla="*/ 155 h 270"/>
                    <a:gd name="T4" fmla="*/ 208 w 492"/>
                    <a:gd name="T5" fmla="*/ 11 h 270"/>
                    <a:gd name="T6" fmla="*/ 0 w 492"/>
                    <a:gd name="T7" fmla="*/ 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92" h="270">
                      <a:moveTo>
                        <a:pt x="0" y="0"/>
                      </a:moveTo>
                      <a:cubicBezTo>
                        <a:pt x="47" y="132"/>
                        <a:pt x="161" y="270"/>
                        <a:pt x="492" y="155"/>
                      </a:cubicBezTo>
                      <a:cubicBezTo>
                        <a:pt x="362" y="106"/>
                        <a:pt x="208" y="11"/>
                        <a:pt x="208" y="11"/>
                      </a:cubicBezTo>
                      <a:cubicBezTo>
                        <a:pt x="134" y="40"/>
                        <a:pt x="1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78D2D2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6" name="Freeform 47">
                  <a:extLst>
                    <a:ext uri="{FF2B5EF4-FFF2-40B4-BE49-F238E27FC236}">
                      <a16:creationId xmlns:a16="http://schemas.microsoft.com/office/drawing/2014/main" id="{B15CBE46-CE81-F9FE-27AE-6CC771E5A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9206" y="2297131"/>
                  <a:ext cx="798720" cy="645505"/>
                </a:xfrm>
                <a:custGeom>
                  <a:avLst/>
                  <a:gdLst>
                    <a:gd name="T0" fmla="*/ 507 w 507"/>
                    <a:gd name="T1" fmla="*/ 133 h 410"/>
                    <a:gd name="T2" fmla="*/ 0 w 507"/>
                    <a:gd name="T3" fmla="*/ 304 h 410"/>
                    <a:gd name="T4" fmla="*/ 328 w 507"/>
                    <a:gd name="T5" fmla="*/ 239 h 410"/>
                    <a:gd name="T6" fmla="*/ 507 w 507"/>
                    <a:gd name="T7" fmla="*/ 133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7" h="410">
                      <a:moveTo>
                        <a:pt x="507" y="133"/>
                      </a:moveTo>
                      <a:cubicBezTo>
                        <a:pt x="384" y="53"/>
                        <a:pt x="200" y="0"/>
                        <a:pt x="0" y="304"/>
                      </a:cubicBezTo>
                      <a:cubicBezTo>
                        <a:pt x="238" y="410"/>
                        <a:pt x="328" y="239"/>
                        <a:pt x="328" y="239"/>
                      </a:cubicBezTo>
                      <a:cubicBezTo>
                        <a:pt x="369" y="171"/>
                        <a:pt x="507" y="133"/>
                        <a:pt x="507" y="133"/>
                      </a:cubicBezTo>
                      <a:close/>
                    </a:path>
                  </a:pathLst>
                </a:custGeom>
                <a:solidFill>
                  <a:srgbClr val="25232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7" name="Freeform 48">
                  <a:extLst>
                    <a:ext uri="{FF2B5EF4-FFF2-40B4-BE49-F238E27FC236}">
                      <a16:creationId xmlns:a16="http://schemas.microsoft.com/office/drawing/2014/main" id="{4198DF10-174A-4EEB-010C-2939514CF4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4051" y="2868692"/>
                  <a:ext cx="540252" cy="648835"/>
                </a:xfrm>
                <a:custGeom>
                  <a:avLst/>
                  <a:gdLst>
                    <a:gd name="T0" fmla="*/ 309 w 343"/>
                    <a:gd name="T1" fmla="*/ 412 h 412"/>
                    <a:gd name="T2" fmla="*/ 0 w 343"/>
                    <a:gd name="T3" fmla="*/ 0 h 412"/>
                    <a:gd name="T4" fmla="*/ 159 w 343"/>
                    <a:gd name="T5" fmla="*/ 289 h 412"/>
                    <a:gd name="T6" fmla="*/ 309 w 343"/>
                    <a:gd name="T7" fmla="*/ 412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3" h="412">
                      <a:moveTo>
                        <a:pt x="309" y="412"/>
                      </a:moveTo>
                      <a:cubicBezTo>
                        <a:pt x="343" y="306"/>
                        <a:pt x="336" y="98"/>
                        <a:pt x="0" y="0"/>
                      </a:cubicBezTo>
                      <a:cubicBezTo>
                        <a:pt x="46" y="153"/>
                        <a:pt x="56" y="215"/>
                        <a:pt x="159" y="289"/>
                      </a:cubicBezTo>
                      <a:cubicBezTo>
                        <a:pt x="237" y="308"/>
                        <a:pt x="309" y="411"/>
                        <a:pt x="309" y="412"/>
                      </a:cubicBezTo>
                      <a:close/>
                    </a:path>
                  </a:pathLst>
                </a:custGeom>
                <a:solidFill>
                  <a:srgbClr val="76717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8" name="Freeform 49">
                  <a:extLst>
                    <a:ext uri="{FF2B5EF4-FFF2-40B4-BE49-F238E27FC236}">
                      <a16:creationId xmlns:a16="http://schemas.microsoft.com/office/drawing/2014/main" id="{BB3E5971-4B23-3DFA-22FC-74C032DD17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1463" y="4355550"/>
                  <a:ext cx="482296" cy="634845"/>
                </a:xfrm>
                <a:custGeom>
                  <a:avLst/>
                  <a:gdLst>
                    <a:gd name="T0" fmla="*/ 0 w 306"/>
                    <a:gd name="T1" fmla="*/ 403 h 403"/>
                    <a:gd name="T2" fmla="*/ 294 w 306"/>
                    <a:gd name="T3" fmla="*/ 0 h 403"/>
                    <a:gd name="T4" fmla="*/ 78 w 306"/>
                    <a:gd name="T5" fmla="*/ 219 h 403"/>
                    <a:gd name="T6" fmla="*/ 0 w 306"/>
                    <a:gd name="T7" fmla="*/ 403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6" h="403">
                      <a:moveTo>
                        <a:pt x="0" y="403"/>
                      </a:moveTo>
                      <a:cubicBezTo>
                        <a:pt x="140" y="398"/>
                        <a:pt x="306" y="350"/>
                        <a:pt x="294" y="0"/>
                      </a:cubicBezTo>
                      <a:cubicBezTo>
                        <a:pt x="228" y="64"/>
                        <a:pt x="78" y="219"/>
                        <a:pt x="78" y="219"/>
                      </a:cubicBezTo>
                      <a:cubicBezTo>
                        <a:pt x="84" y="298"/>
                        <a:pt x="0" y="403"/>
                        <a:pt x="0" y="403"/>
                      </a:cubicBezTo>
                      <a:close/>
                    </a:path>
                  </a:pathLst>
                </a:custGeom>
                <a:solidFill>
                  <a:srgbClr val="E2583D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</p:grpSp>
          <p:sp>
            <p:nvSpPr>
              <p:cNvPr id="80" name="Freeform 51">
                <a:extLst>
                  <a:ext uri="{FF2B5EF4-FFF2-40B4-BE49-F238E27FC236}">
                    <a16:creationId xmlns:a16="http://schemas.microsoft.com/office/drawing/2014/main" id="{F519DD7F-8687-3C02-36D9-1E1EC8077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7370" y="2925737"/>
                <a:ext cx="2348863" cy="1576789"/>
              </a:xfrm>
              <a:custGeom>
                <a:avLst/>
                <a:gdLst>
                  <a:gd name="T0" fmla="*/ 341 w 1491"/>
                  <a:gd name="T1" fmla="*/ 1001 h 1001"/>
                  <a:gd name="T2" fmla="*/ 235 w 1491"/>
                  <a:gd name="T3" fmla="*/ 356 h 1001"/>
                  <a:gd name="T4" fmla="*/ 665 w 1491"/>
                  <a:gd name="T5" fmla="*/ 80 h 1001"/>
                  <a:gd name="T6" fmla="*/ 1324 w 1491"/>
                  <a:gd name="T7" fmla="*/ 30 h 1001"/>
                  <a:gd name="T8" fmla="*/ 1491 w 1491"/>
                  <a:gd name="T9" fmla="*/ 412 h 1001"/>
                  <a:gd name="T10" fmla="*/ 473 w 1491"/>
                  <a:gd name="T11" fmla="*/ 360 h 1001"/>
                  <a:gd name="T12" fmla="*/ 347 w 1491"/>
                  <a:gd name="T13" fmla="*/ 966 h 1001"/>
                  <a:gd name="T14" fmla="*/ 341 w 1491"/>
                  <a:gd name="T15" fmla="*/ 1001 h 10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1" h="1001">
                    <a:moveTo>
                      <a:pt x="341" y="1001"/>
                    </a:moveTo>
                    <a:cubicBezTo>
                      <a:pt x="341" y="1001"/>
                      <a:pt x="48" y="651"/>
                      <a:pt x="235" y="356"/>
                    </a:cubicBezTo>
                    <a:cubicBezTo>
                      <a:pt x="319" y="225"/>
                      <a:pt x="482" y="135"/>
                      <a:pt x="665" y="80"/>
                    </a:cubicBezTo>
                    <a:cubicBezTo>
                      <a:pt x="891" y="13"/>
                      <a:pt x="1158" y="0"/>
                      <a:pt x="1324" y="30"/>
                    </a:cubicBezTo>
                    <a:cubicBezTo>
                      <a:pt x="1324" y="30"/>
                      <a:pt x="1462" y="194"/>
                      <a:pt x="1491" y="412"/>
                    </a:cubicBezTo>
                    <a:cubicBezTo>
                      <a:pt x="1491" y="412"/>
                      <a:pt x="847" y="221"/>
                      <a:pt x="473" y="360"/>
                    </a:cubicBezTo>
                    <a:cubicBezTo>
                      <a:pt x="473" y="360"/>
                      <a:pt x="0" y="531"/>
                      <a:pt x="347" y="966"/>
                    </a:cubicBezTo>
                    <a:lnTo>
                      <a:pt x="341" y="1001"/>
                    </a:lnTo>
                    <a:close/>
                  </a:path>
                </a:pathLst>
              </a:custGeom>
              <a:solidFill>
                <a:srgbClr val="E7E6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C190DD4A-F8CB-DC3B-5970-C118B7AC04EB}"/>
                  </a:ext>
                </a:extLst>
              </p:cNvPr>
              <p:cNvGrpSpPr/>
              <p:nvPr/>
            </p:nvGrpSpPr>
            <p:grpSpPr>
              <a:xfrm>
                <a:off x="3636052" y="2311543"/>
                <a:ext cx="2578687" cy="3225522"/>
                <a:chOff x="3636052" y="2311543"/>
                <a:chExt cx="2578687" cy="3225522"/>
              </a:xfrm>
            </p:grpSpPr>
            <p:sp>
              <p:nvSpPr>
                <p:cNvPr id="82" name="Line 50">
                  <a:extLst>
                    <a:ext uri="{FF2B5EF4-FFF2-40B4-BE49-F238E27FC236}">
                      <a16:creationId xmlns:a16="http://schemas.microsoft.com/office/drawing/2014/main" id="{DF2F8F54-2B72-432E-BAFB-EB6C9C9048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33645" y="4497863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3" name="Line 54">
                  <a:extLst>
                    <a:ext uri="{FF2B5EF4-FFF2-40B4-BE49-F238E27FC236}">
                      <a16:creationId xmlns:a16="http://schemas.microsoft.com/office/drawing/2014/main" id="{1B8DF906-AC00-4948-E304-8685241EBF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53142" y="4113492"/>
                  <a:ext cx="0" cy="0"/>
                </a:xfrm>
                <a:prstGeom prst="line">
                  <a:avLst/>
                </a:prstGeom>
                <a:noFill/>
                <a:ln w="14288" cap="flat">
                  <a:solidFill>
                    <a:srgbClr val="ED1C2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4" name="Freeform 56">
                  <a:extLst>
                    <a:ext uri="{FF2B5EF4-FFF2-40B4-BE49-F238E27FC236}">
                      <a16:creationId xmlns:a16="http://schemas.microsoft.com/office/drawing/2014/main" id="{19152738-F568-3EC7-DE65-F5EA14BD18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6052" y="4208086"/>
                  <a:ext cx="2206972" cy="1328979"/>
                </a:xfrm>
                <a:custGeom>
                  <a:avLst/>
                  <a:gdLst>
                    <a:gd name="T0" fmla="*/ 1353 w 1401"/>
                    <a:gd name="T1" fmla="*/ 229 h 844"/>
                    <a:gd name="T2" fmla="*/ 1075 w 1401"/>
                    <a:gd name="T3" fmla="*/ 789 h 844"/>
                    <a:gd name="T4" fmla="*/ 551 w 1401"/>
                    <a:gd name="T5" fmla="*/ 761 h 844"/>
                    <a:gd name="T6" fmla="*/ 9 w 1401"/>
                    <a:gd name="T7" fmla="*/ 419 h 844"/>
                    <a:gd name="T8" fmla="*/ 88 w 1401"/>
                    <a:gd name="T9" fmla="*/ 0 h 844"/>
                    <a:gd name="T10" fmla="*/ 863 w 1401"/>
                    <a:gd name="T11" fmla="*/ 641 h 844"/>
                    <a:gd name="T12" fmla="*/ 1329 w 1401"/>
                    <a:gd name="T13" fmla="*/ 260 h 844"/>
                    <a:gd name="T14" fmla="*/ 1353 w 1401"/>
                    <a:gd name="T15" fmla="*/ 229 h 8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1" h="844">
                      <a:moveTo>
                        <a:pt x="1353" y="229"/>
                      </a:moveTo>
                      <a:cubicBezTo>
                        <a:pt x="1353" y="229"/>
                        <a:pt x="1401" y="664"/>
                        <a:pt x="1075" y="789"/>
                      </a:cubicBezTo>
                      <a:cubicBezTo>
                        <a:pt x="929" y="844"/>
                        <a:pt x="730" y="826"/>
                        <a:pt x="551" y="761"/>
                      </a:cubicBezTo>
                      <a:cubicBezTo>
                        <a:pt x="329" y="680"/>
                        <a:pt x="123" y="543"/>
                        <a:pt x="9" y="419"/>
                      </a:cubicBezTo>
                      <a:cubicBezTo>
                        <a:pt x="9" y="419"/>
                        <a:pt x="0" y="167"/>
                        <a:pt x="88" y="0"/>
                      </a:cubicBezTo>
                      <a:cubicBezTo>
                        <a:pt x="88" y="0"/>
                        <a:pt x="480" y="528"/>
                        <a:pt x="863" y="641"/>
                      </a:cubicBezTo>
                      <a:cubicBezTo>
                        <a:pt x="863" y="641"/>
                        <a:pt x="1347" y="817"/>
                        <a:pt x="1329" y="260"/>
                      </a:cubicBezTo>
                      <a:lnTo>
                        <a:pt x="1353" y="229"/>
                      </a:lnTo>
                      <a:close/>
                    </a:path>
                  </a:pathLst>
                </a:custGeom>
                <a:solidFill>
                  <a:srgbClr val="E2583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5" name="Freeform 55">
                  <a:extLst>
                    <a:ext uri="{FF2B5EF4-FFF2-40B4-BE49-F238E27FC236}">
                      <a16:creationId xmlns:a16="http://schemas.microsoft.com/office/drawing/2014/main" id="{82D96268-EFE0-9720-3251-F83C31370E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5446" y="3078287"/>
                  <a:ext cx="1789293" cy="2142355"/>
                </a:xfrm>
                <a:custGeom>
                  <a:avLst/>
                  <a:gdLst>
                    <a:gd name="T0" fmla="*/ 575 w 1136"/>
                    <a:gd name="T1" fmla="*/ 0 h 1360"/>
                    <a:gd name="T2" fmla="*/ 1047 w 1136"/>
                    <a:gd name="T3" fmla="*/ 496 h 1360"/>
                    <a:gd name="T4" fmla="*/ 847 w 1136"/>
                    <a:gd name="T5" fmla="*/ 962 h 1360"/>
                    <a:gd name="T6" fmla="*/ 368 w 1136"/>
                    <a:gd name="T7" fmla="*/ 1360 h 1360"/>
                    <a:gd name="T8" fmla="*/ 0 w 1136"/>
                    <a:gd name="T9" fmla="*/ 1149 h 1360"/>
                    <a:gd name="T10" fmla="*/ 833 w 1136"/>
                    <a:gd name="T11" fmla="*/ 612 h 1360"/>
                    <a:gd name="T12" fmla="*/ 602 w 1136"/>
                    <a:gd name="T13" fmla="*/ 43 h 1360"/>
                    <a:gd name="T14" fmla="*/ 575 w 1136"/>
                    <a:gd name="T15" fmla="*/ 0 h 1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36" h="1360">
                      <a:moveTo>
                        <a:pt x="575" y="0"/>
                      </a:moveTo>
                      <a:cubicBezTo>
                        <a:pt x="575" y="0"/>
                        <a:pt x="1043" y="109"/>
                        <a:pt x="1047" y="496"/>
                      </a:cubicBezTo>
                      <a:cubicBezTo>
                        <a:pt x="1049" y="651"/>
                        <a:pt x="965" y="812"/>
                        <a:pt x="847" y="962"/>
                      </a:cubicBezTo>
                      <a:cubicBezTo>
                        <a:pt x="702" y="1147"/>
                        <a:pt x="521" y="1290"/>
                        <a:pt x="368" y="1360"/>
                      </a:cubicBezTo>
                      <a:cubicBezTo>
                        <a:pt x="368" y="1360"/>
                        <a:pt x="118" y="1311"/>
                        <a:pt x="0" y="1149"/>
                      </a:cubicBezTo>
                      <a:cubicBezTo>
                        <a:pt x="0" y="1149"/>
                        <a:pt x="614" y="959"/>
                        <a:pt x="833" y="612"/>
                      </a:cubicBezTo>
                      <a:cubicBezTo>
                        <a:pt x="833" y="612"/>
                        <a:pt x="1136" y="198"/>
                        <a:pt x="602" y="43"/>
                      </a:cubicBezTo>
                      <a:lnTo>
                        <a:pt x="575" y="0"/>
                      </a:lnTo>
                      <a:close/>
                    </a:path>
                  </a:pathLst>
                </a:custGeom>
                <a:solidFill>
                  <a:srgbClr val="AFAB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86" name="Freeform 53">
                  <a:extLst>
                    <a:ext uri="{FF2B5EF4-FFF2-40B4-BE49-F238E27FC236}">
                      <a16:creationId xmlns:a16="http://schemas.microsoft.com/office/drawing/2014/main" id="{D0D956E9-D244-3F7B-1916-0F84C452FF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5914" y="2311543"/>
                  <a:ext cx="1925188" cy="2190985"/>
                </a:xfrm>
                <a:custGeom>
                  <a:avLst/>
                  <a:gdLst>
                    <a:gd name="T0" fmla="*/ 0 w 1222"/>
                    <a:gd name="T1" fmla="*/ 477 h 1391"/>
                    <a:gd name="T2" fmla="*/ 578 w 1222"/>
                    <a:gd name="T3" fmla="*/ 178 h 1391"/>
                    <a:gd name="T4" fmla="*/ 974 w 1222"/>
                    <a:gd name="T5" fmla="*/ 500 h 1391"/>
                    <a:gd name="T6" fmla="*/ 1222 w 1222"/>
                    <a:gd name="T7" fmla="*/ 1099 h 1391"/>
                    <a:gd name="T8" fmla="*/ 918 w 1222"/>
                    <a:gd name="T9" fmla="*/ 1391 h 1391"/>
                    <a:gd name="T10" fmla="*/ 648 w 1222"/>
                    <a:gd name="T11" fmla="*/ 405 h 1391"/>
                    <a:gd name="T12" fmla="*/ 37 w 1222"/>
                    <a:gd name="T13" fmla="*/ 466 h 1391"/>
                    <a:gd name="T14" fmla="*/ 0 w 1222"/>
                    <a:gd name="T15" fmla="*/ 477 h 1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22" h="1391">
                      <a:moveTo>
                        <a:pt x="0" y="477"/>
                      </a:moveTo>
                      <a:cubicBezTo>
                        <a:pt x="0" y="477"/>
                        <a:pt x="239" y="92"/>
                        <a:pt x="578" y="178"/>
                      </a:cubicBezTo>
                      <a:cubicBezTo>
                        <a:pt x="729" y="216"/>
                        <a:pt x="866" y="344"/>
                        <a:pt x="974" y="500"/>
                      </a:cubicBezTo>
                      <a:cubicBezTo>
                        <a:pt x="1109" y="694"/>
                        <a:pt x="1200" y="932"/>
                        <a:pt x="1222" y="1099"/>
                      </a:cubicBezTo>
                      <a:cubicBezTo>
                        <a:pt x="1222" y="1099"/>
                        <a:pt x="1133" y="1325"/>
                        <a:pt x="918" y="1391"/>
                      </a:cubicBezTo>
                      <a:cubicBezTo>
                        <a:pt x="918" y="1391"/>
                        <a:pt x="896" y="717"/>
                        <a:pt x="648" y="405"/>
                      </a:cubicBezTo>
                      <a:cubicBezTo>
                        <a:pt x="648" y="405"/>
                        <a:pt x="342" y="0"/>
                        <a:pt x="37" y="466"/>
                      </a:cubicBezTo>
                      <a:lnTo>
                        <a:pt x="0" y="477"/>
                      </a:lnTo>
                      <a:close/>
                    </a:path>
                  </a:pathLst>
                </a:custGeom>
                <a:solidFill>
                  <a:srgbClr val="3B393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FBD0CDED-FA1A-21E2-8502-B241BFD175D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401554" y="3788303"/>
                  <a:ext cx="285538" cy="288000"/>
                  <a:chOff x="4386263" y="3243263"/>
                  <a:chExt cx="368301" cy="371476"/>
                </a:xfrm>
                <a:solidFill>
                  <a:sysClr val="windowText" lastClr="000000">
                    <a:lumMod val="65000"/>
                    <a:lumOff val="35000"/>
                  </a:sysClr>
                </a:solidFill>
              </p:grpSpPr>
              <p:sp>
                <p:nvSpPr>
                  <p:cNvPr id="90" name="Freeform 67">
                    <a:extLst>
                      <a:ext uri="{FF2B5EF4-FFF2-40B4-BE49-F238E27FC236}">
                        <a16:creationId xmlns:a16="http://schemas.microsoft.com/office/drawing/2014/main" id="{FD6990E6-2A20-E40F-B714-8AEF59BB66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86263" y="3455988"/>
                    <a:ext cx="147638" cy="158750"/>
                  </a:xfrm>
                  <a:custGeom>
                    <a:avLst/>
                    <a:gdLst>
                      <a:gd name="T0" fmla="*/ 23 w 38"/>
                      <a:gd name="T1" fmla="*/ 41 h 41"/>
                      <a:gd name="T2" fmla="*/ 23 w 38"/>
                      <a:gd name="T3" fmla="*/ 41 h 41"/>
                      <a:gd name="T4" fmla="*/ 21 w 38"/>
                      <a:gd name="T5" fmla="*/ 40 h 41"/>
                      <a:gd name="T6" fmla="*/ 16 w 38"/>
                      <a:gd name="T7" fmla="*/ 27 h 41"/>
                      <a:gd name="T8" fmla="*/ 2 w 38"/>
                      <a:gd name="T9" fmla="*/ 29 h 41"/>
                      <a:gd name="T10" fmla="*/ 0 w 38"/>
                      <a:gd name="T11" fmla="*/ 28 h 41"/>
                      <a:gd name="T12" fmla="*/ 0 w 38"/>
                      <a:gd name="T13" fmla="*/ 26 h 41"/>
                      <a:gd name="T14" fmla="*/ 15 w 38"/>
                      <a:gd name="T15" fmla="*/ 0 h 41"/>
                      <a:gd name="T16" fmla="*/ 19 w 38"/>
                      <a:gd name="T17" fmla="*/ 2 h 41"/>
                      <a:gd name="T18" fmla="*/ 6 w 38"/>
                      <a:gd name="T19" fmla="*/ 24 h 41"/>
                      <a:gd name="T20" fmla="*/ 17 w 38"/>
                      <a:gd name="T21" fmla="*/ 22 h 41"/>
                      <a:gd name="T22" fmla="*/ 19 w 38"/>
                      <a:gd name="T23" fmla="*/ 24 h 41"/>
                      <a:gd name="T24" fmla="*/ 23 w 38"/>
                      <a:gd name="T25" fmla="*/ 34 h 41"/>
                      <a:gd name="T26" fmla="*/ 34 w 38"/>
                      <a:gd name="T27" fmla="*/ 16 h 41"/>
                      <a:gd name="T28" fmla="*/ 38 w 38"/>
                      <a:gd name="T29" fmla="*/ 18 h 41"/>
                      <a:gd name="T30" fmla="*/ 24 w 38"/>
                      <a:gd name="T31" fmla="*/ 40 h 41"/>
                      <a:gd name="T32" fmla="*/ 23 w 38"/>
                      <a:gd name="T33" fmla="*/ 41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8" h="41">
                        <a:moveTo>
                          <a:pt x="23" y="41"/>
                        </a:moveTo>
                        <a:cubicBezTo>
                          <a:pt x="23" y="41"/>
                          <a:pt x="23" y="41"/>
                          <a:pt x="23" y="41"/>
                        </a:cubicBezTo>
                        <a:cubicBezTo>
                          <a:pt x="22" y="41"/>
                          <a:pt x="21" y="40"/>
                          <a:pt x="21" y="40"/>
                        </a:cubicBezTo>
                        <a:cubicBezTo>
                          <a:pt x="16" y="27"/>
                          <a:pt x="16" y="27"/>
                          <a:pt x="16" y="27"/>
                        </a:cubicBezTo>
                        <a:cubicBezTo>
                          <a:pt x="2" y="29"/>
                          <a:pt x="2" y="29"/>
                          <a:pt x="2" y="29"/>
                        </a:cubicBezTo>
                        <a:cubicBezTo>
                          <a:pt x="2" y="29"/>
                          <a:pt x="1" y="29"/>
                          <a:pt x="0" y="28"/>
                        </a:cubicBezTo>
                        <a:cubicBezTo>
                          <a:pt x="0" y="27"/>
                          <a:pt x="0" y="27"/>
                          <a:pt x="0" y="26"/>
                        </a:cubicBezTo>
                        <a:cubicBezTo>
                          <a:pt x="15" y="0"/>
                          <a:pt x="15" y="0"/>
                          <a:pt x="15" y="0"/>
                        </a:cubicBezTo>
                        <a:cubicBezTo>
                          <a:pt x="19" y="2"/>
                          <a:pt x="19" y="2"/>
                          <a:pt x="19" y="2"/>
                        </a:cubicBezTo>
                        <a:cubicBezTo>
                          <a:pt x="6" y="24"/>
                          <a:pt x="6" y="24"/>
                          <a:pt x="6" y="24"/>
                        </a:cubicBezTo>
                        <a:cubicBezTo>
                          <a:pt x="17" y="22"/>
                          <a:pt x="17" y="22"/>
                          <a:pt x="17" y="22"/>
                        </a:cubicBezTo>
                        <a:cubicBezTo>
                          <a:pt x="18" y="22"/>
                          <a:pt x="19" y="23"/>
                          <a:pt x="19" y="24"/>
                        </a:cubicBezTo>
                        <a:cubicBezTo>
                          <a:pt x="23" y="34"/>
                          <a:pt x="23" y="34"/>
                          <a:pt x="23" y="34"/>
                        </a:cubicBezTo>
                        <a:cubicBezTo>
                          <a:pt x="34" y="16"/>
                          <a:pt x="34" y="16"/>
                          <a:pt x="34" y="16"/>
                        </a:cubicBezTo>
                        <a:cubicBezTo>
                          <a:pt x="38" y="18"/>
                          <a:pt x="38" y="18"/>
                          <a:pt x="38" y="18"/>
                        </a:cubicBezTo>
                        <a:cubicBezTo>
                          <a:pt x="24" y="40"/>
                          <a:pt x="24" y="40"/>
                          <a:pt x="24" y="40"/>
                        </a:cubicBezTo>
                        <a:cubicBezTo>
                          <a:pt x="24" y="41"/>
                          <a:pt x="23" y="41"/>
                          <a:pt x="23" y="4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1" name="Freeform 68">
                    <a:extLst>
                      <a:ext uri="{FF2B5EF4-FFF2-40B4-BE49-F238E27FC236}">
                        <a16:creationId xmlns:a16="http://schemas.microsoft.com/office/drawing/2014/main" id="{A604AB11-E556-5669-4D13-96F6A0D7E6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10101" y="3460751"/>
                    <a:ext cx="144463" cy="153988"/>
                  </a:xfrm>
                  <a:custGeom>
                    <a:avLst/>
                    <a:gdLst>
                      <a:gd name="T0" fmla="*/ 15 w 37"/>
                      <a:gd name="T1" fmla="*/ 40 h 40"/>
                      <a:gd name="T2" fmla="*/ 13 w 37"/>
                      <a:gd name="T3" fmla="*/ 39 h 40"/>
                      <a:gd name="T4" fmla="*/ 0 w 37"/>
                      <a:gd name="T5" fmla="*/ 17 h 40"/>
                      <a:gd name="T6" fmla="*/ 3 w 37"/>
                      <a:gd name="T7" fmla="*/ 15 h 40"/>
                      <a:gd name="T8" fmla="*/ 14 w 37"/>
                      <a:gd name="T9" fmla="*/ 33 h 40"/>
                      <a:gd name="T10" fmla="*/ 18 w 37"/>
                      <a:gd name="T11" fmla="*/ 23 h 40"/>
                      <a:gd name="T12" fmla="*/ 20 w 37"/>
                      <a:gd name="T13" fmla="*/ 21 h 40"/>
                      <a:gd name="T14" fmla="*/ 31 w 37"/>
                      <a:gd name="T15" fmla="*/ 23 h 40"/>
                      <a:gd name="T16" fmla="*/ 19 w 37"/>
                      <a:gd name="T17" fmla="*/ 2 h 40"/>
                      <a:gd name="T18" fmla="*/ 22 w 37"/>
                      <a:gd name="T19" fmla="*/ 0 h 40"/>
                      <a:gd name="T20" fmla="*/ 37 w 37"/>
                      <a:gd name="T21" fmla="*/ 25 h 40"/>
                      <a:gd name="T22" fmla="*/ 37 w 37"/>
                      <a:gd name="T23" fmla="*/ 27 h 40"/>
                      <a:gd name="T24" fmla="*/ 35 w 37"/>
                      <a:gd name="T25" fmla="*/ 28 h 40"/>
                      <a:gd name="T26" fmla="*/ 21 w 37"/>
                      <a:gd name="T27" fmla="*/ 26 h 40"/>
                      <a:gd name="T28" fmla="*/ 16 w 37"/>
                      <a:gd name="T29" fmla="*/ 39 h 40"/>
                      <a:gd name="T30" fmla="*/ 15 w 37"/>
                      <a:gd name="T31" fmla="*/ 40 h 40"/>
                      <a:gd name="T32" fmla="*/ 15 w 37"/>
                      <a:gd name="T33" fmla="*/ 4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" h="40">
                        <a:moveTo>
                          <a:pt x="15" y="40"/>
                        </a:moveTo>
                        <a:cubicBezTo>
                          <a:pt x="14" y="40"/>
                          <a:pt x="13" y="40"/>
                          <a:pt x="13" y="39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3" y="15"/>
                          <a:pt x="3" y="15"/>
                          <a:pt x="3" y="15"/>
                        </a:cubicBezTo>
                        <a:cubicBezTo>
                          <a:pt x="14" y="33"/>
                          <a:pt x="14" y="33"/>
                          <a:pt x="14" y="33"/>
                        </a:cubicBezTo>
                        <a:cubicBezTo>
                          <a:pt x="18" y="23"/>
                          <a:pt x="18" y="23"/>
                          <a:pt x="18" y="23"/>
                        </a:cubicBezTo>
                        <a:cubicBezTo>
                          <a:pt x="18" y="22"/>
                          <a:pt x="19" y="21"/>
                          <a:pt x="20" y="21"/>
                        </a:cubicBezTo>
                        <a:cubicBezTo>
                          <a:pt x="31" y="23"/>
                          <a:pt x="31" y="23"/>
                          <a:pt x="31" y="23"/>
                        </a:cubicBezTo>
                        <a:cubicBezTo>
                          <a:pt x="19" y="2"/>
                          <a:pt x="19" y="2"/>
                          <a:pt x="19" y="2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37" y="25"/>
                          <a:pt x="37" y="25"/>
                          <a:pt x="37" y="25"/>
                        </a:cubicBezTo>
                        <a:cubicBezTo>
                          <a:pt x="37" y="26"/>
                          <a:pt x="37" y="26"/>
                          <a:pt x="37" y="27"/>
                        </a:cubicBezTo>
                        <a:cubicBezTo>
                          <a:pt x="37" y="28"/>
                          <a:pt x="36" y="28"/>
                          <a:pt x="35" y="28"/>
                        </a:cubicBezTo>
                        <a:cubicBezTo>
                          <a:pt x="21" y="26"/>
                          <a:pt x="21" y="26"/>
                          <a:pt x="21" y="26"/>
                        </a:cubicBezTo>
                        <a:cubicBezTo>
                          <a:pt x="16" y="39"/>
                          <a:pt x="16" y="39"/>
                          <a:pt x="16" y="39"/>
                        </a:cubicBezTo>
                        <a:cubicBezTo>
                          <a:pt x="16" y="39"/>
                          <a:pt x="16" y="40"/>
                          <a:pt x="15" y="40"/>
                        </a:cubicBezTo>
                        <a:cubicBezTo>
                          <a:pt x="15" y="40"/>
                          <a:pt x="15" y="40"/>
                          <a:pt x="15" y="4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2" name="Freeform 69">
                    <a:extLst>
                      <a:ext uri="{FF2B5EF4-FFF2-40B4-BE49-F238E27FC236}">
                        <a16:creationId xmlns:a16="http://schemas.microsoft.com/office/drawing/2014/main" id="{42E34F9D-96DC-785B-F903-6FF00E28285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424363" y="3243263"/>
                    <a:ext cx="295275" cy="293688"/>
                  </a:xfrm>
                  <a:custGeom>
                    <a:avLst/>
                    <a:gdLst>
                      <a:gd name="T0" fmla="*/ 38 w 76"/>
                      <a:gd name="T1" fmla="*/ 76 h 76"/>
                      <a:gd name="T2" fmla="*/ 0 w 76"/>
                      <a:gd name="T3" fmla="*/ 38 h 76"/>
                      <a:gd name="T4" fmla="*/ 38 w 76"/>
                      <a:gd name="T5" fmla="*/ 0 h 76"/>
                      <a:gd name="T6" fmla="*/ 76 w 76"/>
                      <a:gd name="T7" fmla="*/ 38 h 76"/>
                      <a:gd name="T8" fmla="*/ 38 w 76"/>
                      <a:gd name="T9" fmla="*/ 76 h 76"/>
                      <a:gd name="T10" fmla="*/ 38 w 76"/>
                      <a:gd name="T11" fmla="*/ 4 h 76"/>
                      <a:gd name="T12" fmla="*/ 4 w 76"/>
                      <a:gd name="T13" fmla="*/ 38 h 76"/>
                      <a:gd name="T14" fmla="*/ 38 w 76"/>
                      <a:gd name="T15" fmla="*/ 72 h 76"/>
                      <a:gd name="T16" fmla="*/ 72 w 76"/>
                      <a:gd name="T17" fmla="*/ 38 h 76"/>
                      <a:gd name="T18" fmla="*/ 38 w 76"/>
                      <a:gd name="T19" fmla="*/ 4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6" h="76">
                        <a:moveTo>
                          <a:pt x="38" y="76"/>
                        </a:moveTo>
                        <a:cubicBezTo>
                          <a:pt x="17" y="76"/>
                          <a:pt x="0" y="59"/>
                          <a:pt x="0" y="38"/>
                        </a:cubicBezTo>
                        <a:cubicBezTo>
                          <a:pt x="0" y="17"/>
                          <a:pt x="17" y="0"/>
                          <a:pt x="38" y="0"/>
                        </a:cubicBezTo>
                        <a:cubicBezTo>
                          <a:pt x="59" y="0"/>
                          <a:pt x="76" y="17"/>
                          <a:pt x="76" y="38"/>
                        </a:cubicBezTo>
                        <a:cubicBezTo>
                          <a:pt x="76" y="59"/>
                          <a:pt x="59" y="76"/>
                          <a:pt x="38" y="76"/>
                        </a:cubicBezTo>
                        <a:close/>
                        <a:moveTo>
                          <a:pt x="38" y="4"/>
                        </a:moveTo>
                        <a:cubicBezTo>
                          <a:pt x="19" y="4"/>
                          <a:pt x="4" y="19"/>
                          <a:pt x="4" y="38"/>
                        </a:cubicBezTo>
                        <a:cubicBezTo>
                          <a:pt x="4" y="57"/>
                          <a:pt x="19" y="72"/>
                          <a:pt x="38" y="72"/>
                        </a:cubicBezTo>
                        <a:cubicBezTo>
                          <a:pt x="57" y="72"/>
                          <a:pt x="72" y="57"/>
                          <a:pt x="72" y="38"/>
                        </a:cubicBezTo>
                        <a:cubicBezTo>
                          <a:pt x="72" y="19"/>
                          <a:pt x="57" y="4"/>
                          <a:pt x="38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  <p:sp>
                <p:nvSpPr>
                  <p:cNvPr id="93" name="Freeform 70">
                    <a:extLst>
                      <a:ext uri="{FF2B5EF4-FFF2-40B4-BE49-F238E27FC236}">
                        <a16:creationId xmlns:a16="http://schemas.microsoft.com/office/drawing/2014/main" id="{CE3D1272-CADF-B698-A0F5-40F4F58D384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494214" y="3305174"/>
                    <a:ext cx="155575" cy="155575"/>
                  </a:xfrm>
                  <a:custGeom>
                    <a:avLst/>
                    <a:gdLst>
                      <a:gd name="T0" fmla="*/ 32 w 40"/>
                      <a:gd name="T1" fmla="*/ 40 h 40"/>
                      <a:gd name="T2" fmla="*/ 31 w 40"/>
                      <a:gd name="T3" fmla="*/ 40 h 40"/>
                      <a:gd name="T4" fmla="*/ 20 w 40"/>
                      <a:gd name="T5" fmla="*/ 33 h 40"/>
                      <a:gd name="T6" fmla="*/ 9 w 40"/>
                      <a:gd name="T7" fmla="*/ 40 h 40"/>
                      <a:gd name="T8" fmla="*/ 7 w 40"/>
                      <a:gd name="T9" fmla="*/ 40 h 40"/>
                      <a:gd name="T10" fmla="*/ 6 w 40"/>
                      <a:gd name="T11" fmla="*/ 37 h 40"/>
                      <a:gd name="T12" fmla="*/ 10 w 40"/>
                      <a:gd name="T13" fmla="*/ 25 h 40"/>
                      <a:gd name="T14" fmla="*/ 1 w 40"/>
                      <a:gd name="T15" fmla="*/ 15 h 40"/>
                      <a:gd name="T16" fmla="*/ 0 w 40"/>
                      <a:gd name="T17" fmla="*/ 13 h 40"/>
                      <a:gd name="T18" fmla="*/ 2 w 40"/>
                      <a:gd name="T19" fmla="*/ 12 h 40"/>
                      <a:gd name="T20" fmla="*/ 13 w 40"/>
                      <a:gd name="T21" fmla="*/ 12 h 40"/>
                      <a:gd name="T22" fmla="*/ 18 w 40"/>
                      <a:gd name="T23" fmla="*/ 1 h 40"/>
                      <a:gd name="T24" fmla="*/ 22 w 40"/>
                      <a:gd name="T25" fmla="*/ 1 h 40"/>
                      <a:gd name="T26" fmla="*/ 27 w 40"/>
                      <a:gd name="T27" fmla="*/ 12 h 40"/>
                      <a:gd name="T28" fmla="*/ 38 w 40"/>
                      <a:gd name="T29" fmla="*/ 12 h 40"/>
                      <a:gd name="T30" fmla="*/ 40 w 40"/>
                      <a:gd name="T31" fmla="*/ 13 h 40"/>
                      <a:gd name="T32" fmla="*/ 39 w 40"/>
                      <a:gd name="T33" fmla="*/ 15 h 40"/>
                      <a:gd name="T34" fmla="*/ 30 w 40"/>
                      <a:gd name="T35" fmla="*/ 25 h 40"/>
                      <a:gd name="T36" fmla="*/ 34 w 40"/>
                      <a:gd name="T37" fmla="*/ 37 h 40"/>
                      <a:gd name="T38" fmla="*/ 33 w 40"/>
                      <a:gd name="T39" fmla="*/ 40 h 40"/>
                      <a:gd name="T40" fmla="*/ 32 w 40"/>
                      <a:gd name="T41" fmla="*/ 40 h 40"/>
                      <a:gd name="T42" fmla="*/ 20 w 40"/>
                      <a:gd name="T43" fmla="*/ 28 h 40"/>
                      <a:gd name="T44" fmla="*/ 21 w 40"/>
                      <a:gd name="T45" fmla="*/ 29 h 40"/>
                      <a:gd name="T46" fmla="*/ 29 w 40"/>
                      <a:gd name="T47" fmla="*/ 34 h 40"/>
                      <a:gd name="T48" fmla="*/ 26 w 40"/>
                      <a:gd name="T49" fmla="*/ 25 h 40"/>
                      <a:gd name="T50" fmla="*/ 27 w 40"/>
                      <a:gd name="T51" fmla="*/ 23 h 40"/>
                      <a:gd name="T52" fmla="*/ 33 w 40"/>
                      <a:gd name="T53" fmla="*/ 16 h 40"/>
                      <a:gd name="T54" fmla="*/ 26 w 40"/>
                      <a:gd name="T55" fmla="*/ 16 h 40"/>
                      <a:gd name="T56" fmla="*/ 24 w 40"/>
                      <a:gd name="T57" fmla="*/ 15 h 40"/>
                      <a:gd name="T58" fmla="*/ 20 w 40"/>
                      <a:gd name="T59" fmla="*/ 6 h 40"/>
                      <a:gd name="T60" fmla="*/ 16 w 40"/>
                      <a:gd name="T61" fmla="*/ 15 h 40"/>
                      <a:gd name="T62" fmla="*/ 14 w 40"/>
                      <a:gd name="T63" fmla="*/ 16 h 40"/>
                      <a:gd name="T64" fmla="*/ 7 w 40"/>
                      <a:gd name="T65" fmla="*/ 16 h 40"/>
                      <a:gd name="T66" fmla="*/ 13 w 40"/>
                      <a:gd name="T67" fmla="*/ 23 h 40"/>
                      <a:gd name="T68" fmla="*/ 14 w 40"/>
                      <a:gd name="T69" fmla="*/ 25 h 40"/>
                      <a:gd name="T70" fmla="*/ 11 w 40"/>
                      <a:gd name="T71" fmla="*/ 34 h 40"/>
                      <a:gd name="T72" fmla="*/ 19 w 40"/>
                      <a:gd name="T73" fmla="*/ 29 h 40"/>
                      <a:gd name="T74" fmla="*/ 20 w 40"/>
                      <a:gd name="T75" fmla="*/ 28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40" h="40">
                        <a:moveTo>
                          <a:pt x="32" y="40"/>
                        </a:moveTo>
                        <a:cubicBezTo>
                          <a:pt x="32" y="40"/>
                          <a:pt x="31" y="40"/>
                          <a:pt x="31" y="40"/>
                        </a:cubicBezTo>
                        <a:cubicBezTo>
                          <a:pt x="20" y="33"/>
                          <a:pt x="20" y="33"/>
                          <a:pt x="20" y="33"/>
                        </a:cubicBezTo>
                        <a:cubicBezTo>
                          <a:pt x="9" y="40"/>
                          <a:pt x="9" y="40"/>
                          <a:pt x="9" y="40"/>
                        </a:cubicBezTo>
                        <a:cubicBezTo>
                          <a:pt x="8" y="40"/>
                          <a:pt x="7" y="40"/>
                          <a:pt x="7" y="40"/>
                        </a:cubicBezTo>
                        <a:cubicBezTo>
                          <a:pt x="6" y="39"/>
                          <a:pt x="6" y="38"/>
                          <a:pt x="6" y="37"/>
                        </a:cubicBezTo>
                        <a:cubicBezTo>
                          <a:pt x="10" y="25"/>
                          <a:pt x="10" y="25"/>
                          <a:pt x="10" y="25"/>
                        </a:cubicBezTo>
                        <a:cubicBezTo>
                          <a:pt x="1" y="15"/>
                          <a:pt x="1" y="15"/>
                          <a:pt x="1" y="15"/>
                        </a:cubicBezTo>
                        <a:cubicBezTo>
                          <a:pt x="0" y="15"/>
                          <a:pt x="0" y="14"/>
                          <a:pt x="0" y="13"/>
                        </a:cubicBezTo>
                        <a:cubicBezTo>
                          <a:pt x="0" y="12"/>
                          <a:pt x="1" y="12"/>
                          <a:pt x="2" y="12"/>
                        </a:cubicBezTo>
                        <a:cubicBezTo>
                          <a:pt x="13" y="12"/>
                          <a:pt x="13" y="12"/>
                          <a:pt x="13" y="12"/>
                        </a:cubicBezTo>
                        <a:cubicBezTo>
                          <a:pt x="18" y="1"/>
                          <a:pt x="18" y="1"/>
                          <a:pt x="18" y="1"/>
                        </a:cubicBezTo>
                        <a:cubicBezTo>
                          <a:pt x="19" y="0"/>
                          <a:pt x="21" y="0"/>
                          <a:pt x="22" y="1"/>
                        </a:cubicBezTo>
                        <a:cubicBezTo>
                          <a:pt x="27" y="12"/>
                          <a:pt x="27" y="12"/>
                          <a:pt x="27" y="12"/>
                        </a:cubicBezTo>
                        <a:cubicBezTo>
                          <a:pt x="38" y="12"/>
                          <a:pt x="38" y="12"/>
                          <a:pt x="38" y="12"/>
                        </a:cubicBezTo>
                        <a:cubicBezTo>
                          <a:pt x="39" y="12"/>
                          <a:pt x="40" y="12"/>
                          <a:pt x="40" y="13"/>
                        </a:cubicBezTo>
                        <a:cubicBezTo>
                          <a:pt x="40" y="14"/>
                          <a:pt x="40" y="15"/>
                          <a:pt x="3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4" y="37"/>
                          <a:pt x="34" y="37"/>
                          <a:pt x="34" y="37"/>
                        </a:cubicBezTo>
                        <a:cubicBezTo>
                          <a:pt x="34" y="38"/>
                          <a:pt x="34" y="39"/>
                          <a:pt x="33" y="40"/>
                        </a:cubicBezTo>
                        <a:cubicBezTo>
                          <a:pt x="33" y="40"/>
                          <a:pt x="32" y="40"/>
                          <a:pt x="32" y="40"/>
                        </a:cubicBezTo>
                        <a:close/>
                        <a:moveTo>
                          <a:pt x="20" y="28"/>
                        </a:moveTo>
                        <a:cubicBezTo>
                          <a:pt x="20" y="28"/>
                          <a:pt x="21" y="29"/>
                          <a:pt x="21" y="29"/>
                        </a:cubicBezTo>
                        <a:cubicBezTo>
                          <a:pt x="29" y="34"/>
                          <a:pt x="29" y="34"/>
                          <a:pt x="29" y="34"/>
                        </a:cubicBezTo>
                        <a:cubicBezTo>
                          <a:pt x="26" y="25"/>
                          <a:pt x="26" y="25"/>
                          <a:pt x="26" y="25"/>
                        </a:cubicBezTo>
                        <a:cubicBezTo>
                          <a:pt x="26" y="24"/>
                          <a:pt x="26" y="23"/>
                          <a:pt x="27" y="23"/>
                        </a:cubicBezTo>
                        <a:cubicBezTo>
                          <a:pt x="33" y="16"/>
                          <a:pt x="33" y="16"/>
                          <a:pt x="33" y="16"/>
                        </a:cubicBezTo>
                        <a:cubicBezTo>
                          <a:pt x="26" y="16"/>
                          <a:pt x="26" y="16"/>
                          <a:pt x="26" y="16"/>
                        </a:cubicBezTo>
                        <a:cubicBezTo>
                          <a:pt x="25" y="16"/>
                          <a:pt x="25" y="16"/>
                          <a:pt x="24" y="15"/>
                        </a:cubicBezTo>
                        <a:cubicBezTo>
                          <a:pt x="20" y="6"/>
                          <a:pt x="20" y="6"/>
                          <a:pt x="20" y="6"/>
                        </a:cubicBezTo>
                        <a:cubicBezTo>
                          <a:pt x="16" y="15"/>
                          <a:pt x="16" y="15"/>
                          <a:pt x="16" y="15"/>
                        </a:cubicBezTo>
                        <a:cubicBezTo>
                          <a:pt x="15" y="16"/>
                          <a:pt x="15" y="16"/>
                          <a:pt x="14" y="16"/>
                        </a:cubicBezTo>
                        <a:cubicBezTo>
                          <a:pt x="7" y="16"/>
                          <a:pt x="7" y="16"/>
                          <a:pt x="7" y="16"/>
                        </a:cubicBezTo>
                        <a:cubicBezTo>
                          <a:pt x="13" y="23"/>
                          <a:pt x="13" y="23"/>
                          <a:pt x="13" y="23"/>
                        </a:cubicBezTo>
                        <a:cubicBezTo>
                          <a:pt x="14" y="23"/>
                          <a:pt x="14" y="24"/>
                          <a:pt x="14" y="25"/>
                        </a:cubicBezTo>
                        <a:cubicBezTo>
                          <a:pt x="11" y="34"/>
                          <a:pt x="11" y="34"/>
                          <a:pt x="11" y="34"/>
                        </a:cubicBezTo>
                        <a:cubicBezTo>
                          <a:pt x="19" y="29"/>
                          <a:pt x="19" y="29"/>
                          <a:pt x="19" y="29"/>
                        </a:cubicBezTo>
                        <a:cubicBezTo>
                          <a:pt x="19" y="29"/>
                          <a:pt x="20" y="28"/>
                          <a:pt x="20" y="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</a:endParaRPr>
                  </a:p>
                </p:txBody>
              </p:sp>
            </p:grp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596E0E5-7E8B-0F89-8C91-C8C7C54BB9D5}"/>
                </a:ext>
              </a:extLst>
            </p:cNvPr>
            <p:cNvGrpSpPr/>
            <p:nvPr/>
          </p:nvGrpSpPr>
          <p:grpSpPr>
            <a:xfrm>
              <a:off x="2505488" y="3490913"/>
              <a:ext cx="539768" cy="539768"/>
              <a:chOff x="2456649" y="2890030"/>
              <a:chExt cx="593745" cy="593745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B07B3E38-C155-35D8-7DD5-DDDF4BB7D548}"/>
                  </a:ext>
                </a:extLst>
              </p:cNvPr>
              <p:cNvGrpSpPr/>
              <p:nvPr/>
            </p:nvGrpSpPr>
            <p:grpSpPr>
              <a:xfrm>
                <a:off x="2456649" y="2890030"/>
                <a:ext cx="593745" cy="593745"/>
                <a:chOff x="2439588" y="2833628"/>
                <a:chExt cx="405535" cy="405535"/>
              </a:xfrm>
            </p:grpSpPr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B6E9E6C1-3093-569E-82C0-FDA8FAA809E6}"/>
                    </a:ext>
                  </a:extLst>
                </p:cNvPr>
                <p:cNvSpPr/>
                <p:nvPr/>
              </p:nvSpPr>
              <p:spPr>
                <a:xfrm>
                  <a:off x="2439588" y="2833628"/>
                  <a:ext cx="405535" cy="405535"/>
                </a:xfrm>
                <a:prstGeom prst="ellipse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38100" dist="25400" dir="5400000" algn="t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9265D03C-FB95-7B5F-7B1A-8D10B32123BB}"/>
                    </a:ext>
                  </a:extLst>
                </p:cNvPr>
                <p:cNvSpPr/>
                <p:nvPr/>
              </p:nvSpPr>
              <p:spPr>
                <a:xfrm>
                  <a:off x="2474779" y="2868816"/>
                  <a:ext cx="335153" cy="335152"/>
                </a:xfrm>
                <a:prstGeom prst="ellipse">
                  <a:avLst/>
                </a:prstGeom>
                <a:solidFill>
                  <a:srgbClr val="78D2D2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720BDC6D-7481-EEC1-7A46-A67EAC4B1C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590234" y="3043153"/>
                <a:ext cx="326574" cy="287496"/>
                <a:chOff x="1362075" y="1844675"/>
                <a:chExt cx="371475" cy="327025"/>
              </a:xfrm>
              <a:solidFill>
                <a:sysClr val="window" lastClr="FFFFFF"/>
              </a:solidFill>
            </p:grpSpPr>
            <p:sp>
              <p:nvSpPr>
                <p:cNvPr id="67" name="Freeform 74">
                  <a:extLst>
                    <a:ext uri="{FF2B5EF4-FFF2-40B4-BE49-F238E27FC236}">
                      <a16:creationId xmlns:a16="http://schemas.microsoft.com/office/drawing/2014/main" id="{D0F03B8B-AE7B-0223-B340-7A0B48601F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62075" y="1844675"/>
                  <a:ext cx="371475" cy="295275"/>
                </a:xfrm>
                <a:custGeom>
                  <a:avLst/>
                  <a:gdLst>
                    <a:gd name="T0" fmla="*/ 88 w 96"/>
                    <a:gd name="T1" fmla="*/ 76 h 76"/>
                    <a:gd name="T2" fmla="*/ 8 w 96"/>
                    <a:gd name="T3" fmla="*/ 76 h 76"/>
                    <a:gd name="T4" fmla="*/ 0 w 96"/>
                    <a:gd name="T5" fmla="*/ 68 h 76"/>
                    <a:gd name="T6" fmla="*/ 0 w 96"/>
                    <a:gd name="T7" fmla="*/ 8 h 76"/>
                    <a:gd name="T8" fmla="*/ 8 w 96"/>
                    <a:gd name="T9" fmla="*/ 0 h 76"/>
                    <a:gd name="T10" fmla="*/ 88 w 96"/>
                    <a:gd name="T11" fmla="*/ 0 h 76"/>
                    <a:gd name="T12" fmla="*/ 96 w 96"/>
                    <a:gd name="T13" fmla="*/ 8 h 76"/>
                    <a:gd name="T14" fmla="*/ 96 w 96"/>
                    <a:gd name="T15" fmla="*/ 68 h 76"/>
                    <a:gd name="T16" fmla="*/ 88 w 96"/>
                    <a:gd name="T17" fmla="*/ 76 h 76"/>
                    <a:gd name="T18" fmla="*/ 8 w 96"/>
                    <a:gd name="T19" fmla="*/ 4 h 76"/>
                    <a:gd name="T20" fmla="*/ 4 w 96"/>
                    <a:gd name="T21" fmla="*/ 8 h 76"/>
                    <a:gd name="T22" fmla="*/ 4 w 96"/>
                    <a:gd name="T23" fmla="*/ 68 h 76"/>
                    <a:gd name="T24" fmla="*/ 8 w 96"/>
                    <a:gd name="T25" fmla="*/ 72 h 76"/>
                    <a:gd name="T26" fmla="*/ 88 w 96"/>
                    <a:gd name="T27" fmla="*/ 72 h 76"/>
                    <a:gd name="T28" fmla="*/ 92 w 96"/>
                    <a:gd name="T29" fmla="*/ 68 h 76"/>
                    <a:gd name="T30" fmla="*/ 92 w 96"/>
                    <a:gd name="T31" fmla="*/ 8 h 76"/>
                    <a:gd name="T32" fmla="*/ 88 w 96"/>
                    <a:gd name="T33" fmla="*/ 4 h 76"/>
                    <a:gd name="T34" fmla="*/ 8 w 96"/>
                    <a:gd name="T35" fmla="*/ 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6" h="76">
                      <a:moveTo>
                        <a:pt x="88" y="76"/>
                      </a:moveTo>
                      <a:cubicBezTo>
                        <a:pt x="8" y="76"/>
                        <a:pt x="8" y="76"/>
                        <a:pt x="8" y="76"/>
                      </a:cubicBezTo>
                      <a:cubicBezTo>
                        <a:pt x="4" y="76"/>
                        <a:pt x="0" y="72"/>
                        <a:pt x="0" y="6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92" y="0"/>
                        <a:pt x="96" y="4"/>
                        <a:pt x="96" y="8"/>
                      </a:cubicBezTo>
                      <a:cubicBezTo>
                        <a:pt x="96" y="68"/>
                        <a:pt x="96" y="68"/>
                        <a:pt x="96" y="68"/>
                      </a:cubicBezTo>
                      <a:cubicBezTo>
                        <a:pt x="96" y="72"/>
                        <a:pt x="92" y="76"/>
                        <a:pt x="88" y="76"/>
                      </a:cubicBezTo>
                      <a:close/>
                      <a:moveTo>
                        <a:pt x="8" y="4"/>
                      </a:moveTo>
                      <a:cubicBezTo>
                        <a:pt x="6" y="4"/>
                        <a:pt x="4" y="6"/>
                        <a:pt x="4" y="8"/>
                      </a:cubicBezTo>
                      <a:cubicBezTo>
                        <a:pt x="4" y="68"/>
                        <a:pt x="4" y="68"/>
                        <a:pt x="4" y="68"/>
                      </a:cubicBezTo>
                      <a:cubicBezTo>
                        <a:pt x="4" y="70"/>
                        <a:pt x="6" y="72"/>
                        <a:pt x="8" y="72"/>
                      </a:cubicBezTo>
                      <a:cubicBezTo>
                        <a:pt x="88" y="72"/>
                        <a:pt x="88" y="72"/>
                        <a:pt x="88" y="72"/>
                      </a:cubicBezTo>
                      <a:cubicBezTo>
                        <a:pt x="90" y="72"/>
                        <a:pt x="92" y="70"/>
                        <a:pt x="92" y="68"/>
                      </a:cubicBezTo>
                      <a:cubicBezTo>
                        <a:pt x="92" y="8"/>
                        <a:pt x="92" y="8"/>
                        <a:pt x="92" y="8"/>
                      </a:cubicBezTo>
                      <a:cubicBezTo>
                        <a:pt x="92" y="6"/>
                        <a:pt x="90" y="4"/>
                        <a:pt x="88" y="4"/>
                      </a:cubicBez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68" name="Freeform 75">
                  <a:extLst>
                    <a:ext uri="{FF2B5EF4-FFF2-40B4-BE49-F238E27FC236}">
                      <a16:creationId xmlns:a16="http://schemas.microsoft.com/office/drawing/2014/main" id="{28779E1F-18B0-B04C-E9B7-839FE823E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1925" y="2155825"/>
                  <a:ext cx="231775" cy="15875"/>
                </a:xfrm>
                <a:custGeom>
                  <a:avLst/>
                  <a:gdLst>
                    <a:gd name="T0" fmla="*/ 58 w 60"/>
                    <a:gd name="T1" fmla="*/ 4 h 4"/>
                    <a:gd name="T2" fmla="*/ 2 w 60"/>
                    <a:gd name="T3" fmla="*/ 4 h 4"/>
                    <a:gd name="T4" fmla="*/ 0 w 60"/>
                    <a:gd name="T5" fmla="*/ 2 h 4"/>
                    <a:gd name="T6" fmla="*/ 2 w 60"/>
                    <a:gd name="T7" fmla="*/ 0 h 4"/>
                    <a:gd name="T8" fmla="*/ 58 w 60"/>
                    <a:gd name="T9" fmla="*/ 0 h 4"/>
                    <a:gd name="T10" fmla="*/ 60 w 60"/>
                    <a:gd name="T11" fmla="*/ 2 h 4"/>
                    <a:gd name="T12" fmla="*/ 58 w 60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0" h="4">
                      <a:moveTo>
                        <a:pt x="58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9" y="0"/>
                        <a:pt x="60" y="1"/>
                        <a:pt x="60" y="2"/>
                      </a:cubicBezTo>
                      <a:cubicBezTo>
                        <a:pt x="60" y="3"/>
                        <a:pt x="59" y="4"/>
                        <a:pt x="58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69" name="Freeform 76">
                  <a:extLst>
                    <a:ext uri="{FF2B5EF4-FFF2-40B4-BE49-F238E27FC236}">
                      <a16:creationId xmlns:a16="http://schemas.microsoft.com/office/drawing/2014/main" id="{F225B5EB-2CEC-E970-72F0-A37414B7A6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938" y="2124075"/>
                  <a:ext cx="15875" cy="47625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0" name="Oval 77">
                  <a:extLst>
                    <a:ext uri="{FF2B5EF4-FFF2-40B4-BE49-F238E27FC236}">
                      <a16:creationId xmlns:a16="http://schemas.microsoft.com/office/drawing/2014/main" id="{50EDF267-7AA9-F7CF-B1C7-D2ED9AD03C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1938" y="2085975"/>
                  <a:ext cx="31750" cy="301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1" name="Rectangle 78">
                  <a:extLst>
                    <a:ext uri="{FF2B5EF4-FFF2-40B4-BE49-F238E27FC236}">
                      <a16:creationId xmlns:a16="http://schemas.microsoft.com/office/drawing/2014/main" id="{3161BFD8-39A9-D6E8-77AF-508D46BE47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0013" y="2062163"/>
                  <a:ext cx="355600" cy="158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2" name="Freeform 79">
                  <a:extLst>
                    <a:ext uri="{FF2B5EF4-FFF2-40B4-BE49-F238E27FC236}">
                      <a16:creationId xmlns:a16="http://schemas.microsoft.com/office/drawing/2014/main" id="{DFA2CA8F-C48A-81CD-640C-A70AC4D3C5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55738" y="1968500"/>
                  <a:ext cx="61913" cy="77788"/>
                </a:xfrm>
                <a:custGeom>
                  <a:avLst/>
                  <a:gdLst>
                    <a:gd name="T0" fmla="*/ 14 w 16"/>
                    <a:gd name="T1" fmla="*/ 20 h 20"/>
                    <a:gd name="T2" fmla="*/ 2 w 16"/>
                    <a:gd name="T3" fmla="*/ 20 h 20"/>
                    <a:gd name="T4" fmla="*/ 0 w 16"/>
                    <a:gd name="T5" fmla="*/ 18 h 20"/>
                    <a:gd name="T6" fmla="*/ 0 w 16"/>
                    <a:gd name="T7" fmla="*/ 2 h 20"/>
                    <a:gd name="T8" fmla="*/ 2 w 16"/>
                    <a:gd name="T9" fmla="*/ 0 h 20"/>
                    <a:gd name="T10" fmla="*/ 14 w 16"/>
                    <a:gd name="T11" fmla="*/ 0 h 20"/>
                    <a:gd name="T12" fmla="*/ 16 w 16"/>
                    <a:gd name="T13" fmla="*/ 2 h 20"/>
                    <a:gd name="T14" fmla="*/ 16 w 16"/>
                    <a:gd name="T15" fmla="*/ 18 h 20"/>
                    <a:gd name="T16" fmla="*/ 14 w 16"/>
                    <a:gd name="T17" fmla="*/ 20 h 20"/>
                    <a:gd name="T18" fmla="*/ 4 w 16"/>
                    <a:gd name="T19" fmla="*/ 16 h 20"/>
                    <a:gd name="T20" fmla="*/ 12 w 16"/>
                    <a:gd name="T21" fmla="*/ 16 h 20"/>
                    <a:gd name="T22" fmla="*/ 12 w 16"/>
                    <a:gd name="T23" fmla="*/ 4 h 20"/>
                    <a:gd name="T24" fmla="*/ 4 w 16"/>
                    <a:gd name="T25" fmla="*/ 4 h 20"/>
                    <a:gd name="T26" fmla="*/ 4 w 16"/>
                    <a:gd name="T27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20">
                      <a:moveTo>
                        <a:pt x="14" y="20"/>
                      </a:moveTo>
                      <a:cubicBezTo>
                        <a:pt x="2" y="20"/>
                        <a:pt x="2" y="20"/>
                        <a:pt x="2" y="20"/>
                      </a:cubicBezTo>
                      <a:cubicBezTo>
                        <a:pt x="1" y="20"/>
                        <a:pt x="0" y="19"/>
                        <a:pt x="0" y="1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6" y="19"/>
                        <a:pt x="15" y="20"/>
                        <a:pt x="14" y="20"/>
                      </a:cubicBezTo>
                      <a:close/>
                      <a:moveTo>
                        <a:pt x="4" y="16"/>
                      </a:move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3" name="Freeform 80">
                  <a:extLst>
                    <a:ext uri="{FF2B5EF4-FFF2-40B4-BE49-F238E27FC236}">
                      <a16:creationId xmlns:a16="http://schemas.microsoft.com/office/drawing/2014/main" id="{C7214CBE-2853-7CB5-D8DF-CB6B727A5A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31938" y="1922463"/>
                  <a:ext cx="61913" cy="123825"/>
                </a:xfrm>
                <a:custGeom>
                  <a:avLst/>
                  <a:gdLst>
                    <a:gd name="T0" fmla="*/ 14 w 16"/>
                    <a:gd name="T1" fmla="*/ 32 h 32"/>
                    <a:gd name="T2" fmla="*/ 2 w 16"/>
                    <a:gd name="T3" fmla="*/ 32 h 32"/>
                    <a:gd name="T4" fmla="*/ 0 w 16"/>
                    <a:gd name="T5" fmla="*/ 30 h 32"/>
                    <a:gd name="T6" fmla="*/ 0 w 16"/>
                    <a:gd name="T7" fmla="*/ 2 h 32"/>
                    <a:gd name="T8" fmla="*/ 2 w 16"/>
                    <a:gd name="T9" fmla="*/ 0 h 32"/>
                    <a:gd name="T10" fmla="*/ 14 w 16"/>
                    <a:gd name="T11" fmla="*/ 0 h 32"/>
                    <a:gd name="T12" fmla="*/ 16 w 16"/>
                    <a:gd name="T13" fmla="*/ 2 h 32"/>
                    <a:gd name="T14" fmla="*/ 16 w 16"/>
                    <a:gd name="T15" fmla="*/ 30 h 32"/>
                    <a:gd name="T16" fmla="*/ 14 w 16"/>
                    <a:gd name="T17" fmla="*/ 32 h 32"/>
                    <a:gd name="T18" fmla="*/ 4 w 16"/>
                    <a:gd name="T19" fmla="*/ 28 h 32"/>
                    <a:gd name="T20" fmla="*/ 12 w 16"/>
                    <a:gd name="T21" fmla="*/ 28 h 32"/>
                    <a:gd name="T22" fmla="*/ 12 w 16"/>
                    <a:gd name="T23" fmla="*/ 4 h 32"/>
                    <a:gd name="T24" fmla="*/ 4 w 16"/>
                    <a:gd name="T25" fmla="*/ 4 h 32"/>
                    <a:gd name="T26" fmla="*/ 4 w 16"/>
                    <a:gd name="T2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32">
                      <a:moveTo>
                        <a:pt x="14" y="32"/>
                      </a:move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1" y="32"/>
                        <a:pt x="0" y="31"/>
                        <a:pt x="0" y="3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1"/>
                        <a:pt x="15" y="32"/>
                        <a:pt x="14" y="32"/>
                      </a:cubicBezTo>
                      <a:close/>
                      <a:moveTo>
                        <a:pt x="4" y="28"/>
                      </a:move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4" name="Freeform 81">
                  <a:extLst>
                    <a:ext uri="{FF2B5EF4-FFF2-40B4-BE49-F238E27FC236}">
                      <a16:creationId xmlns:a16="http://schemas.microsoft.com/office/drawing/2014/main" id="{859E8429-462A-2F22-54FD-353190B48E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25" y="1890713"/>
                  <a:ext cx="61913" cy="155575"/>
                </a:xfrm>
                <a:custGeom>
                  <a:avLst/>
                  <a:gdLst>
                    <a:gd name="T0" fmla="*/ 14 w 16"/>
                    <a:gd name="T1" fmla="*/ 40 h 40"/>
                    <a:gd name="T2" fmla="*/ 2 w 16"/>
                    <a:gd name="T3" fmla="*/ 40 h 40"/>
                    <a:gd name="T4" fmla="*/ 0 w 16"/>
                    <a:gd name="T5" fmla="*/ 38 h 40"/>
                    <a:gd name="T6" fmla="*/ 0 w 16"/>
                    <a:gd name="T7" fmla="*/ 2 h 40"/>
                    <a:gd name="T8" fmla="*/ 2 w 16"/>
                    <a:gd name="T9" fmla="*/ 0 h 40"/>
                    <a:gd name="T10" fmla="*/ 14 w 16"/>
                    <a:gd name="T11" fmla="*/ 0 h 40"/>
                    <a:gd name="T12" fmla="*/ 16 w 16"/>
                    <a:gd name="T13" fmla="*/ 2 h 40"/>
                    <a:gd name="T14" fmla="*/ 16 w 16"/>
                    <a:gd name="T15" fmla="*/ 38 h 40"/>
                    <a:gd name="T16" fmla="*/ 14 w 16"/>
                    <a:gd name="T17" fmla="*/ 40 h 40"/>
                    <a:gd name="T18" fmla="*/ 4 w 16"/>
                    <a:gd name="T19" fmla="*/ 36 h 40"/>
                    <a:gd name="T20" fmla="*/ 12 w 16"/>
                    <a:gd name="T21" fmla="*/ 36 h 40"/>
                    <a:gd name="T22" fmla="*/ 12 w 16"/>
                    <a:gd name="T23" fmla="*/ 4 h 40"/>
                    <a:gd name="T24" fmla="*/ 4 w 16"/>
                    <a:gd name="T25" fmla="*/ 4 h 40"/>
                    <a:gd name="T26" fmla="*/ 4 w 16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" h="40">
                      <a:moveTo>
                        <a:pt x="14" y="40"/>
                      </a:moveTo>
                      <a:cubicBezTo>
                        <a:pt x="2" y="40"/>
                        <a:pt x="2" y="40"/>
                        <a:pt x="2" y="40"/>
                      </a:cubicBezTo>
                      <a:cubicBezTo>
                        <a:pt x="1" y="40"/>
                        <a:pt x="0" y="39"/>
                        <a:pt x="0" y="38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6" y="1"/>
                        <a:pt x="16" y="2"/>
                      </a:cubicBezTo>
                      <a:cubicBezTo>
                        <a:pt x="16" y="38"/>
                        <a:pt x="16" y="38"/>
                        <a:pt x="16" y="38"/>
                      </a:cubicBezTo>
                      <a:cubicBezTo>
                        <a:pt x="16" y="39"/>
                        <a:pt x="15" y="40"/>
                        <a:pt x="14" y="40"/>
                      </a:cubicBezTo>
                      <a:close/>
                      <a:moveTo>
                        <a:pt x="4" y="36"/>
                      </a:moveTo>
                      <a:cubicBezTo>
                        <a:pt x="12" y="36"/>
                        <a:pt x="12" y="36"/>
                        <a:pt x="12" y="36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75" name="Rectangle 82">
                  <a:extLst>
                    <a:ext uri="{FF2B5EF4-FFF2-40B4-BE49-F238E27FC236}">
                      <a16:creationId xmlns:a16="http://schemas.microsoft.com/office/drawing/2014/main" id="{84A323AD-305C-6C7E-E5EC-FCA6B41311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3988" y="1890713"/>
                  <a:ext cx="15875" cy="155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</p:grpSp>
        </p:grpSp>
        <p:sp>
          <p:nvSpPr>
            <p:cNvPr id="9" name="Freeform 86">
              <a:extLst>
                <a:ext uri="{FF2B5EF4-FFF2-40B4-BE49-F238E27FC236}">
                  <a16:creationId xmlns:a16="http://schemas.microsoft.com/office/drawing/2014/main" id="{A7DBEDBD-A07E-5EAE-C47D-012BC90CA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652" y="4244641"/>
              <a:ext cx="413573" cy="1353347"/>
            </a:xfrm>
            <a:custGeom>
              <a:avLst/>
              <a:gdLst>
                <a:gd name="T0" fmla="*/ 289 w 289"/>
                <a:gd name="T1" fmla="*/ 945 h 945"/>
                <a:gd name="T2" fmla="*/ 0 w 289"/>
                <a:gd name="T3" fmla="*/ 127 h 945"/>
                <a:gd name="T4" fmla="*/ 6 w 289"/>
                <a:gd name="T5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9" h="945">
                  <a:moveTo>
                    <a:pt x="289" y="945"/>
                  </a:moveTo>
                  <a:cubicBezTo>
                    <a:pt x="108" y="721"/>
                    <a:pt x="0" y="437"/>
                    <a:pt x="0" y="127"/>
                  </a:cubicBezTo>
                  <a:cubicBezTo>
                    <a:pt x="0" y="84"/>
                    <a:pt x="2" y="42"/>
                    <a:pt x="6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" name="Freeform 87">
              <a:extLst>
                <a:ext uri="{FF2B5EF4-FFF2-40B4-BE49-F238E27FC236}">
                  <a16:creationId xmlns:a16="http://schemas.microsoft.com/office/drawing/2014/main" id="{BA6E1305-3062-4375-3CF6-55CA99154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010" y="6144776"/>
              <a:ext cx="1396339" cy="150775"/>
            </a:xfrm>
            <a:custGeom>
              <a:avLst/>
              <a:gdLst>
                <a:gd name="T0" fmla="*/ 975 w 975"/>
                <a:gd name="T1" fmla="*/ 21 h 105"/>
                <a:gd name="T2" fmla="*/ 513 w 975"/>
                <a:gd name="T3" fmla="*/ 105 h 105"/>
                <a:gd name="T4" fmla="*/ 0 w 975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5" h="105">
                  <a:moveTo>
                    <a:pt x="975" y="21"/>
                  </a:moveTo>
                  <a:cubicBezTo>
                    <a:pt x="831" y="76"/>
                    <a:pt x="676" y="105"/>
                    <a:pt x="513" y="105"/>
                  </a:cubicBezTo>
                  <a:cubicBezTo>
                    <a:pt x="331" y="105"/>
                    <a:pt x="157" y="68"/>
                    <a:pt x="0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" name="Freeform 88">
              <a:extLst>
                <a:ext uri="{FF2B5EF4-FFF2-40B4-BE49-F238E27FC236}">
                  <a16:creationId xmlns:a16="http://schemas.microsoft.com/office/drawing/2014/main" id="{C44803C6-D909-2C03-39F9-E44E72D6A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906" y="4342131"/>
              <a:ext cx="468070" cy="1321860"/>
            </a:xfrm>
            <a:custGeom>
              <a:avLst/>
              <a:gdLst>
                <a:gd name="T0" fmla="*/ 326 w 327"/>
                <a:gd name="T1" fmla="*/ 0 h 923"/>
                <a:gd name="T2" fmla="*/ 327 w 327"/>
                <a:gd name="T3" fmla="*/ 59 h 923"/>
                <a:gd name="T4" fmla="*/ 0 w 327"/>
                <a:gd name="T5" fmla="*/ 923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7" h="923">
                  <a:moveTo>
                    <a:pt x="326" y="0"/>
                  </a:moveTo>
                  <a:cubicBezTo>
                    <a:pt x="327" y="19"/>
                    <a:pt x="327" y="39"/>
                    <a:pt x="327" y="59"/>
                  </a:cubicBezTo>
                  <a:cubicBezTo>
                    <a:pt x="327" y="390"/>
                    <a:pt x="204" y="693"/>
                    <a:pt x="0" y="923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2" name="Freeform 89">
              <a:extLst>
                <a:ext uri="{FF2B5EF4-FFF2-40B4-BE49-F238E27FC236}">
                  <a16:creationId xmlns:a16="http://schemas.microsoft.com/office/drawing/2014/main" id="{0BD0951B-AC3B-1C0D-9546-9AC5A5636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958" y="2620624"/>
              <a:ext cx="1129908" cy="864689"/>
            </a:xfrm>
            <a:custGeom>
              <a:avLst/>
              <a:gdLst>
                <a:gd name="T0" fmla="*/ 0 w 789"/>
                <a:gd name="T1" fmla="*/ 0 h 604"/>
                <a:gd name="T2" fmla="*/ 789 w 789"/>
                <a:gd name="T3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89" h="604">
                  <a:moveTo>
                    <a:pt x="0" y="0"/>
                  </a:moveTo>
                  <a:cubicBezTo>
                    <a:pt x="335" y="90"/>
                    <a:pt x="618" y="311"/>
                    <a:pt x="789" y="604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Freeform 90">
              <a:extLst>
                <a:ext uri="{FF2B5EF4-FFF2-40B4-BE49-F238E27FC236}">
                  <a16:creationId xmlns:a16="http://schemas.microsoft.com/office/drawing/2014/main" id="{5487427C-8CB7-8D5B-9491-690F95969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020" y="2600643"/>
              <a:ext cx="1161395" cy="804742"/>
            </a:xfrm>
            <a:custGeom>
              <a:avLst/>
              <a:gdLst>
                <a:gd name="T0" fmla="*/ 0 w 811"/>
                <a:gd name="T1" fmla="*/ 562 h 562"/>
                <a:gd name="T2" fmla="*/ 811 w 811"/>
                <a:gd name="T3" fmla="*/ 0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11" h="562">
                  <a:moveTo>
                    <a:pt x="0" y="562"/>
                  </a:moveTo>
                  <a:cubicBezTo>
                    <a:pt x="184" y="281"/>
                    <a:pt x="473" y="75"/>
                    <a:pt x="811" y="0"/>
                  </a:cubicBezTo>
                </a:path>
              </a:pathLst>
            </a:custGeom>
            <a:noFill/>
            <a:ln w="12700" cap="flat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EF78DC-0C9A-38CC-B715-681FFDF0BC42}"/>
                </a:ext>
              </a:extLst>
            </p:cNvPr>
            <p:cNvGrpSpPr/>
            <p:nvPr/>
          </p:nvGrpSpPr>
          <p:grpSpPr>
            <a:xfrm>
              <a:off x="4291268" y="2218523"/>
              <a:ext cx="539768" cy="539768"/>
              <a:chOff x="2439588" y="2833628"/>
              <a:chExt cx="405535" cy="405535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78E44594-7BAE-FF2F-EBAD-0B3317FFFBFE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AF4992A0-A85F-8140-A5BB-A7F30499701D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3B393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743430C-8D57-B21B-34A6-4F9EFAEDDF55}"/>
                </a:ext>
              </a:extLst>
            </p:cNvPr>
            <p:cNvGrpSpPr/>
            <p:nvPr/>
          </p:nvGrpSpPr>
          <p:grpSpPr>
            <a:xfrm>
              <a:off x="6028023" y="3635988"/>
              <a:ext cx="539768" cy="539768"/>
              <a:chOff x="2439588" y="2833628"/>
              <a:chExt cx="405535" cy="405535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CDBAE485-6849-95E7-4375-375485EC9661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EAF1DE1D-98E0-784A-27EE-676EF32E0C26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8DEDA07-6598-FAE3-6A74-FFAEF9F4F153}"/>
                </a:ext>
              </a:extLst>
            </p:cNvPr>
            <p:cNvGrpSpPr/>
            <p:nvPr/>
          </p:nvGrpSpPr>
          <p:grpSpPr>
            <a:xfrm>
              <a:off x="3099542" y="5643044"/>
              <a:ext cx="539768" cy="539768"/>
              <a:chOff x="2439588" y="2833628"/>
              <a:chExt cx="405535" cy="405535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2EB82C7D-A153-9C07-C4BC-EFD824B902BE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EC67EE5-60C5-8F97-76CF-5D6D5C1C6CFF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E2583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96015B4-ABC7-7FC4-01FA-C7607BC26839}"/>
                </a:ext>
              </a:extLst>
            </p:cNvPr>
            <p:cNvGrpSpPr/>
            <p:nvPr/>
          </p:nvGrpSpPr>
          <p:grpSpPr>
            <a:xfrm>
              <a:off x="5298905" y="5773807"/>
              <a:ext cx="539768" cy="539768"/>
              <a:chOff x="2439588" y="2833628"/>
              <a:chExt cx="405535" cy="405535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688B67D7-1091-C58F-2A28-98066A818C03}"/>
                  </a:ext>
                </a:extLst>
              </p:cNvPr>
              <p:cNvSpPr/>
              <p:nvPr/>
            </p:nvSpPr>
            <p:spPr>
              <a:xfrm>
                <a:off x="2439588" y="2833628"/>
                <a:ext cx="405535" cy="405535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38100" dist="254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4279D04-EED6-C231-D5D3-9A9F9D5943C5}"/>
                  </a:ext>
                </a:extLst>
              </p:cNvPr>
              <p:cNvSpPr/>
              <p:nvPr/>
            </p:nvSpPr>
            <p:spPr>
              <a:xfrm>
                <a:off x="2474779" y="2868819"/>
                <a:ext cx="335153" cy="335153"/>
              </a:xfrm>
              <a:prstGeom prst="ellipse">
                <a:avLst/>
              </a:prstGeom>
              <a:solidFill>
                <a:srgbClr val="78D2D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2226915-9E24-C3A1-A9FC-FC5DA0BE840E}"/>
                </a:ext>
              </a:extLst>
            </p:cNvPr>
            <p:cNvSpPr txBox="1"/>
            <p:nvPr/>
          </p:nvSpPr>
          <p:spPr>
            <a:xfrm>
              <a:off x="3511060" y="1677391"/>
              <a:ext cx="2297846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Local Educational Institutions and School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7C1921F-9EE8-8706-2661-60091DA5D82F}"/>
                </a:ext>
              </a:extLst>
            </p:cNvPr>
            <p:cNvSpPr txBox="1"/>
            <p:nvPr/>
          </p:nvSpPr>
          <p:spPr>
            <a:xfrm>
              <a:off x="1405812" y="3519970"/>
              <a:ext cx="982094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Language Localization Partner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DC10FF4-6F8D-12EC-3992-747EC34D4D75}"/>
                </a:ext>
              </a:extLst>
            </p:cNvPr>
            <p:cNvSpPr txBox="1"/>
            <p:nvPr/>
          </p:nvSpPr>
          <p:spPr>
            <a:xfrm>
              <a:off x="1011843" y="5672101"/>
              <a:ext cx="1996197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Educational Technology Companie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6B4D87A-9E28-B61E-DE15-49C4742EEB17}"/>
                </a:ext>
              </a:extLst>
            </p:cNvPr>
            <p:cNvSpPr txBox="1"/>
            <p:nvPr/>
          </p:nvSpPr>
          <p:spPr>
            <a:xfrm>
              <a:off x="6671120" y="3665045"/>
              <a:ext cx="1413700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Distributors and Retailer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3A28959-BE3B-154C-A60A-E784232CC751}"/>
                </a:ext>
              </a:extLst>
            </p:cNvPr>
            <p:cNvSpPr txBox="1"/>
            <p:nvPr/>
          </p:nvSpPr>
          <p:spPr>
            <a:xfrm>
              <a:off x="5949124" y="5802864"/>
              <a:ext cx="1344304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Online Educational Platforms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EEBAB6F-2C45-2963-A52B-7710C19F47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29752" y="2357007"/>
              <a:ext cx="262801" cy="262800"/>
              <a:chOff x="6445250" y="1803400"/>
              <a:chExt cx="371476" cy="371475"/>
            </a:xfrm>
            <a:solidFill>
              <a:sysClr val="window" lastClr="FFFFFF"/>
            </a:solidFill>
          </p:grpSpPr>
          <p:sp>
            <p:nvSpPr>
              <p:cNvPr id="43" name="Freeform 94">
                <a:extLst>
                  <a:ext uri="{FF2B5EF4-FFF2-40B4-BE49-F238E27FC236}">
                    <a16:creationId xmlns:a16="http://schemas.microsoft.com/office/drawing/2014/main" id="{B002430E-68F7-C871-B380-10A90B9D63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3038" y="1989138"/>
                <a:ext cx="107950" cy="107950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4 h 28"/>
                  <a:gd name="T12" fmla="*/ 4 w 28"/>
                  <a:gd name="T13" fmla="*/ 14 h 28"/>
                  <a:gd name="T14" fmla="*/ 14 w 28"/>
                  <a:gd name="T15" fmla="*/ 24 h 28"/>
                  <a:gd name="T16" fmla="*/ 24 w 28"/>
                  <a:gd name="T17" fmla="*/ 14 h 28"/>
                  <a:gd name="T18" fmla="*/ 14 w 28"/>
                  <a:gd name="T1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20"/>
                      <a:pt x="8" y="24"/>
                      <a:pt x="14" y="24"/>
                    </a:cubicBezTo>
                    <a:cubicBezTo>
                      <a:pt x="20" y="24"/>
                      <a:pt x="24" y="20"/>
                      <a:pt x="24" y="14"/>
                    </a:cubicBezTo>
                    <a:cubicBezTo>
                      <a:pt x="24" y="8"/>
                      <a:pt x="20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4" name="Freeform 95">
                <a:extLst>
                  <a:ext uri="{FF2B5EF4-FFF2-40B4-BE49-F238E27FC236}">
                    <a16:creationId xmlns:a16="http://schemas.microsoft.com/office/drawing/2014/main" id="{CD5B3084-04A5-41FB-D296-270E3C947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45250" y="1911350"/>
                <a:ext cx="263525" cy="263525"/>
              </a:xfrm>
              <a:custGeom>
                <a:avLst/>
                <a:gdLst>
                  <a:gd name="T0" fmla="*/ 26 w 68"/>
                  <a:gd name="T1" fmla="*/ 68 h 68"/>
                  <a:gd name="T2" fmla="*/ 24 w 68"/>
                  <a:gd name="T3" fmla="*/ 60 h 68"/>
                  <a:gd name="T4" fmla="*/ 11 w 68"/>
                  <a:gd name="T5" fmla="*/ 59 h 68"/>
                  <a:gd name="T6" fmla="*/ 1 w 68"/>
                  <a:gd name="T7" fmla="*/ 44 h 68"/>
                  <a:gd name="T8" fmla="*/ 1 w 68"/>
                  <a:gd name="T9" fmla="*/ 41 h 68"/>
                  <a:gd name="T10" fmla="*/ 6 w 68"/>
                  <a:gd name="T11" fmla="*/ 30 h 68"/>
                  <a:gd name="T12" fmla="*/ 1 w 68"/>
                  <a:gd name="T13" fmla="*/ 24 h 68"/>
                  <a:gd name="T14" fmla="*/ 10 w 68"/>
                  <a:gd name="T15" fmla="*/ 9 h 68"/>
                  <a:gd name="T16" fmla="*/ 16 w 68"/>
                  <a:gd name="T17" fmla="*/ 12 h 68"/>
                  <a:gd name="T18" fmla="*/ 24 w 68"/>
                  <a:gd name="T19" fmla="*/ 2 h 68"/>
                  <a:gd name="T20" fmla="*/ 42 w 68"/>
                  <a:gd name="T21" fmla="*/ 0 h 68"/>
                  <a:gd name="T22" fmla="*/ 44 w 68"/>
                  <a:gd name="T23" fmla="*/ 8 h 68"/>
                  <a:gd name="T24" fmla="*/ 57 w 68"/>
                  <a:gd name="T25" fmla="*/ 9 h 68"/>
                  <a:gd name="T26" fmla="*/ 67 w 68"/>
                  <a:gd name="T27" fmla="*/ 24 h 68"/>
                  <a:gd name="T28" fmla="*/ 62 w 68"/>
                  <a:gd name="T29" fmla="*/ 30 h 68"/>
                  <a:gd name="T30" fmla="*/ 67 w 68"/>
                  <a:gd name="T31" fmla="*/ 41 h 68"/>
                  <a:gd name="T32" fmla="*/ 67 w 68"/>
                  <a:gd name="T33" fmla="*/ 44 h 68"/>
                  <a:gd name="T34" fmla="*/ 58 w 68"/>
                  <a:gd name="T35" fmla="*/ 59 h 68"/>
                  <a:gd name="T36" fmla="*/ 52 w 68"/>
                  <a:gd name="T37" fmla="*/ 56 h 68"/>
                  <a:gd name="T38" fmla="*/ 44 w 68"/>
                  <a:gd name="T39" fmla="*/ 66 h 68"/>
                  <a:gd name="T40" fmla="*/ 28 w 68"/>
                  <a:gd name="T41" fmla="*/ 64 h 68"/>
                  <a:gd name="T42" fmla="*/ 40 w 68"/>
                  <a:gd name="T43" fmla="*/ 59 h 68"/>
                  <a:gd name="T44" fmla="*/ 50 w 68"/>
                  <a:gd name="T45" fmla="*/ 52 h 68"/>
                  <a:gd name="T46" fmla="*/ 57 w 68"/>
                  <a:gd name="T47" fmla="*/ 54 h 68"/>
                  <a:gd name="T48" fmla="*/ 58 w 68"/>
                  <a:gd name="T49" fmla="*/ 41 h 68"/>
                  <a:gd name="T50" fmla="*/ 57 w 68"/>
                  <a:gd name="T51" fmla="*/ 29 h 68"/>
                  <a:gd name="T52" fmla="*/ 63 w 68"/>
                  <a:gd name="T53" fmla="*/ 24 h 68"/>
                  <a:gd name="T54" fmla="*/ 52 w 68"/>
                  <a:gd name="T55" fmla="*/ 16 h 68"/>
                  <a:gd name="T56" fmla="*/ 41 w 68"/>
                  <a:gd name="T57" fmla="*/ 11 h 68"/>
                  <a:gd name="T58" fmla="*/ 40 w 68"/>
                  <a:gd name="T59" fmla="*/ 4 h 68"/>
                  <a:gd name="T60" fmla="*/ 28 w 68"/>
                  <a:gd name="T61" fmla="*/ 9 h 68"/>
                  <a:gd name="T62" fmla="*/ 18 w 68"/>
                  <a:gd name="T63" fmla="*/ 16 h 68"/>
                  <a:gd name="T64" fmla="*/ 11 w 68"/>
                  <a:gd name="T65" fmla="*/ 14 h 68"/>
                  <a:gd name="T66" fmla="*/ 10 w 68"/>
                  <a:gd name="T67" fmla="*/ 27 h 68"/>
                  <a:gd name="T68" fmla="*/ 11 w 68"/>
                  <a:gd name="T69" fmla="*/ 39 h 68"/>
                  <a:gd name="T70" fmla="*/ 5 w 68"/>
                  <a:gd name="T71" fmla="*/ 44 h 68"/>
                  <a:gd name="T72" fmla="*/ 16 w 68"/>
                  <a:gd name="T73" fmla="*/ 52 h 68"/>
                  <a:gd name="T74" fmla="*/ 27 w 68"/>
                  <a:gd name="T75" fmla="*/ 57 h 68"/>
                  <a:gd name="T76" fmla="*/ 28 w 68"/>
                  <a:gd name="T77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68">
                    <a:moveTo>
                      <a:pt x="42" y="68"/>
                    </a:move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8"/>
                      <a:pt x="24" y="67"/>
                      <a:pt x="24" y="66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1" y="59"/>
                      <a:pt x="19" y="58"/>
                      <a:pt x="16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9" y="5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2"/>
                      <a:pt x="1" y="42"/>
                      <a:pt x="1" y="41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5"/>
                      <a:pt x="6" y="33"/>
                      <a:pt x="6" y="30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5"/>
                      <a:pt x="1" y="2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9"/>
                      <a:pt x="10" y="9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9" y="10"/>
                      <a:pt x="21" y="9"/>
                      <a:pt x="24" y="8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5" y="0"/>
                      <a:pt x="2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4" y="2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7" y="9"/>
                      <a:pt x="49" y="10"/>
                      <a:pt x="52" y="1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8" y="9"/>
                      <a:pt x="59" y="9"/>
                      <a:pt x="59" y="10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5"/>
                      <a:pt x="68" y="26"/>
                      <a:pt x="67" y="2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3"/>
                      <a:pt x="62" y="35"/>
                      <a:pt x="62" y="38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2"/>
                      <a:pt x="68" y="42"/>
                      <a:pt x="68" y="43"/>
                    </a:cubicBezTo>
                    <a:cubicBezTo>
                      <a:pt x="68" y="43"/>
                      <a:pt x="68" y="44"/>
                      <a:pt x="67" y="44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8"/>
                      <a:pt x="59" y="59"/>
                      <a:pt x="58" y="59"/>
                    </a:cubicBezTo>
                    <a:cubicBezTo>
                      <a:pt x="58" y="59"/>
                      <a:pt x="57" y="59"/>
                      <a:pt x="57" y="59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49" y="58"/>
                      <a:pt x="47" y="59"/>
                      <a:pt x="44" y="6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7"/>
                      <a:pt x="43" y="68"/>
                      <a:pt x="42" y="68"/>
                    </a:cubicBezTo>
                    <a:close/>
                    <a:moveTo>
                      <a:pt x="28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8"/>
                      <a:pt x="41" y="57"/>
                      <a:pt x="41" y="57"/>
                    </a:cubicBezTo>
                    <a:cubicBezTo>
                      <a:pt x="45" y="56"/>
                      <a:pt x="48" y="54"/>
                      <a:pt x="50" y="52"/>
                    </a:cubicBezTo>
                    <a:cubicBezTo>
                      <a:pt x="51" y="51"/>
                      <a:pt x="52" y="51"/>
                      <a:pt x="52" y="52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8" y="41"/>
                      <a:pt x="57" y="40"/>
                      <a:pt x="57" y="39"/>
                    </a:cubicBezTo>
                    <a:cubicBezTo>
                      <a:pt x="58" y="36"/>
                      <a:pt x="58" y="32"/>
                      <a:pt x="57" y="29"/>
                    </a:cubicBezTo>
                    <a:cubicBezTo>
                      <a:pt x="57" y="28"/>
                      <a:pt x="58" y="27"/>
                      <a:pt x="58" y="27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0" y="16"/>
                    </a:cubicBezTo>
                    <a:cubicBezTo>
                      <a:pt x="48" y="14"/>
                      <a:pt x="45" y="12"/>
                      <a:pt x="41" y="11"/>
                    </a:cubicBezTo>
                    <a:cubicBezTo>
                      <a:pt x="41" y="11"/>
                      <a:pt x="40" y="10"/>
                      <a:pt x="40" y="9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10"/>
                      <a:pt x="27" y="11"/>
                      <a:pt x="27" y="11"/>
                    </a:cubicBezTo>
                    <a:cubicBezTo>
                      <a:pt x="23" y="12"/>
                      <a:pt x="20" y="14"/>
                      <a:pt x="18" y="16"/>
                    </a:cubicBezTo>
                    <a:cubicBezTo>
                      <a:pt x="17" y="17"/>
                      <a:pt x="16" y="17"/>
                      <a:pt x="16" y="16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11" y="28"/>
                      <a:pt x="11" y="29"/>
                    </a:cubicBezTo>
                    <a:cubicBezTo>
                      <a:pt x="10" y="32"/>
                      <a:pt x="10" y="36"/>
                      <a:pt x="11" y="39"/>
                    </a:cubicBezTo>
                    <a:cubicBezTo>
                      <a:pt x="11" y="40"/>
                      <a:pt x="10" y="41"/>
                      <a:pt x="10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8" y="52"/>
                    </a:cubicBezTo>
                    <a:cubicBezTo>
                      <a:pt x="20" y="54"/>
                      <a:pt x="23" y="56"/>
                      <a:pt x="27" y="57"/>
                    </a:cubicBezTo>
                    <a:cubicBezTo>
                      <a:pt x="27" y="57"/>
                      <a:pt x="28" y="58"/>
                      <a:pt x="28" y="59"/>
                    </a:cubicBez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5" name="Freeform 96">
                <a:extLst>
                  <a:ext uri="{FF2B5EF4-FFF2-40B4-BE49-F238E27FC236}">
                    <a16:creationId xmlns:a16="http://schemas.microsoft.com/office/drawing/2014/main" id="{680F73DF-F561-7CAD-965D-09237004CC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8775" y="1849438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6" name="Freeform 97">
                <a:extLst>
                  <a:ext uri="{FF2B5EF4-FFF2-40B4-BE49-F238E27FC236}">
                    <a16:creationId xmlns:a16="http://schemas.microsoft.com/office/drawing/2014/main" id="{9EEDF018-4052-9D74-F53B-09C517C6D0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2738" y="1803400"/>
                <a:ext cx="153988" cy="155575"/>
              </a:xfrm>
              <a:custGeom>
                <a:avLst/>
                <a:gdLst>
                  <a:gd name="T0" fmla="*/ 16 w 40"/>
                  <a:gd name="T1" fmla="*/ 40 h 40"/>
                  <a:gd name="T2" fmla="*/ 14 w 40"/>
                  <a:gd name="T3" fmla="*/ 35 h 40"/>
                  <a:gd name="T4" fmla="*/ 7 w 40"/>
                  <a:gd name="T5" fmla="*/ 34 h 40"/>
                  <a:gd name="T6" fmla="*/ 5 w 40"/>
                  <a:gd name="T7" fmla="*/ 33 h 40"/>
                  <a:gd name="T8" fmla="*/ 1 w 40"/>
                  <a:gd name="T9" fmla="*/ 24 h 40"/>
                  <a:gd name="T10" fmla="*/ 4 w 40"/>
                  <a:gd name="T11" fmla="*/ 18 h 40"/>
                  <a:gd name="T12" fmla="*/ 0 w 40"/>
                  <a:gd name="T13" fmla="*/ 15 h 40"/>
                  <a:gd name="T14" fmla="*/ 5 w 40"/>
                  <a:gd name="T15" fmla="*/ 7 h 40"/>
                  <a:gd name="T16" fmla="*/ 7 w 40"/>
                  <a:gd name="T17" fmla="*/ 6 h 40"/>
                  <a:gd name="T18" fmla="*/ 14 w 40"/>
                  <a:gd name="T19" fmla="*/ 5 h 40"/>
                  <a:gd name="T20" fmla="*/ 16 w 40"/>
                  <a:gd name="T21" fmla="*/ 0 h 40"/>
                  <a:gd name="T22" fmla="*/ 26 w 40"/>
                  <a:gd name="T23" fmla="*/ 2 h 40"/>
                  <a:gd name="T24" fmla="*/ 30 w 40"/>
                  <a:gd name="T25" fmla="*/ 7 h 40"/>
                  <a:gd name="T26" fmla="*/ 34 w 40"/>
                  <a:gd name="T27" fmla="*/ 6 h 40"/>
                  <a:gd name="T28" fmla="*/ 39 w 40"/>
                  <a:gd name="T29" fmla="*/ 13 h 40"/>
                  <a:gd name="T30" fmla="*/ 36 w 40"/>
                  <a:gd name="T31" fmla="*/ 18 h 40"/>
                  <a:gd name="T32" fmla="*/ 39 w 40"/>
                  <a:gd name="T33" fmla="*/ 24 h 40"/>
                  <a:gd name="T34" fmla="*/ 35 w 40"/>
                  <a:gd name="T35" fmla="*/ 33 h 40"/>
                  <a:gd name="T36" fmla="*/ 33 w 40"/>
                  <a:gd name="T37" fmla="*/ 34 h 40"/>
                  <a:gd name="T38" fmla="*/ 26 w 40"/>
                  <a:gd name="T39" fmla="*/ 35 h 40"/>
                  <a:gd name="T40" fmla="*/ 24 w 40"/>
                  <a:gd name="T41" fmla="*/ 40 h 40"/>
                  <a:gd name="T42" fmla="*/ 22 w 40"/>
                  <a:gd name="T43" fmla="*/ 36 h 40"/>
                  <a:gd name="T44" fmla="*/ 23 w 40"/>
                  <a:gd name="T45" fmla="*/ 31 h 40"/>
                  <a:gd name="T46" fmla="*/ 31 w 40"/>
                  <a:gd name="T47" fmla="*/ 28 h 40"/>
                  <a:gd name="T48" fmla="*/ 35 w 40"/>
                  <a:gd name="T49" fmla="*/ 26 h 40"/>
                  <a:gd name="T50" fmla="*/ 32 w 40"/>
                  <a:gd name="T51" fmla="*/ 23 h 40"/>
                  <a:gd name="T52" fmla="*/ 33 w 40"/>
                  <a:gd name="T53" fmla="*/ 15 h 40"/>
                  <a:gd name="T54" fmla="*/ 33 w 40"/>
                  <a:gd name="T55" fmla="*/ 10 h 40"/>
                  <a:gd name="T56" fmla="*/ 28 w 40"/>
                  <a:gd name="T57" fmla="*/ 11 h 40"/>
                  <a:gd name="T58" fmla="*/ 22 w 40"/>
                  <a:gd name="T59" fmla="*/ 7 h 40"/>
                  <a:gd name="T60" fmla="*/ 18 w 40"/>
                  <a:gd name="T61" fmla="*/ 4 h 40"/>
                  <a:gd name="T62" fmla="*/ 17 w 40"/>
                  <a:gd name="T63" fmla="*/ 9 h 40"/>
                  <a:gd name="T64" fmla="*/ 9 w 40"/>
                  <a:gd name="T65" fmla="*/ 12 h 40"/>
                  <a:gd name="T66" fmla="*/ 5 w 40"/>
                  <a:gd name="T67" fmla="*/ 14 h 40"/>
                  <a:gd name="T68" fmla="*/ 8 w 40"/>
                  <a:gd name="T69" fmla="*/ 17 h 40"/>
                  <a:gd name="T70" fmla="*/ 7 w 40"/>
                  <a:gd name="T71" fmla="*/ 25 h 40"/>
                  <a:gd name="T72" fmla="*/ 7 w 40"/>
                  <a:gd name="T73" fmla="*/ 30 h 40"/>
                  <a:gd name="T74" fmla="*/ 12 w 40"/>
                  <a:gd name="T75" fmla="*/ 29 h 40"/>
                  <a:gd name="T76" fmla="*/ 18 w 40"/>
                  <a:gd name="T77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" h="40">
                    <a:moveTo>
                      <a:pt x="2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0"/>
                      <a:pt x="14" y="39"/>
                      <a:pt x="14" y="38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1" y="34"/>
                      <a:pt x="10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4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4"/>
                      <a:pt x="1" y="2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1"/>
                      <a:pt x="4" y="19"/>
                      <a:pt x="4" y="18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5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6"/>
                      <a:pt x="7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3" y="6"/>
                      <a:pt x="14" y="5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5" y="0"/>
                      <a:pt x="1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7" y="6"/>
                      <a:pt x="29" y="6"/>
                      <a:pt x="30" y="7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4" y="5"/>
                      <a:pt x="34" y="6"/>
                    </a:cubicBezTo>
                    <a:cubicBezTo>
                      <a:pt x="35" y="6"/>
                      <a:pt x="35" y="6"/>
                      <a:pt x="35" y="7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0" y="16"/>
                      <a:pt x="39" y="1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21"/>
                      <a:pt x="36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40" y="24"/>
                      <a:pt x="40" y="26"/>
                      <a:pt x="39" y="27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4"/>
                      <a:pt x="35" y="34"/>
                      <a:pt x="34" y="34"/>
                    </a:cubicBezTo>
                    <a:cubicBezTo>
                      <a:pt x="34" y="35"/>
                      <a:pt x="33" y="34"/>
                      <a:pt x="33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9" y="33"/>
                      <a:pt x="27" y="34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39"/>
                      <a:pt x="25" y="40"/>
                      <a:pt x="24" y="40"/>
                    </a:cubicBezTo>
                    <a:close/>
                    <a:moveTo>
                      <a:pt x="18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2" y="32"/>
                      <a:pt x="23" y="32"/>
                      <a:pt x="23" y="31"/>
                    </a:cubicBezTo>
                    <a:cubicBezTo>
                      <a:pt x="25" y="31"/>
                      <a:pt x="27" y="30"/>
                      <a:pt x="28" y="29"/>
                    </a:cubicBezTo>
                    <a:cubicBezTo>
                      <a:pt x="29" y="28"/>
                      <a:pt x="30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2" y="25"/>
                      <a:pt x="31" y="24"/>
                      <a:pt x="32" y="23"/>
                    </a:cubicBezTo>
                    <a:cubicBezTo>
                      <a:pt x="32" y="21"/>
                      <a:pt x="32" y="19"/>
                      <a:pt x="32" y="17"/>
                    </a:cubicBezTo>
                    <a:cubicBezTo>
                      <a:pt x="31" y="16"/>
                      <a:pt x="32" y="15"/>
                      <a:pt x="33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0" y="12"/>
                      <a:pt x="29" y="12"/>
                      <a:pt x="28" y="11"/>
                    </a:cubicBezTo>
                    <a:cubicBezTo>
                      <a:pt x="27" y="10"/>
                      <a:pt x="25" y="9"/>
                      <a:pt x="23" y="9"/>
                    </a:cubicBezTo>
                    <a:cubicBezTo>
                      <a:pt x="23" y="8"/>
                      <a:pt x="22" y="8"/>
                      <a:pt x="22" y="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8"/>
                      <a:pt x="17" y="8"/>
                      <a:pt x="17" y="9"/>
                    </a:cubicBezTo>
                    <a:cubicBezTo>
                      <a:pt x="15" y="9"/>
                      <a:pt x="13" y="10"/>
                      <a:pt x="12" y="11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5"/>
                      <a:pt x="9" y="16"/>
                      <a:pt x="8" y="17"/>
                    </a:cubicBezTo>
                    <a:cubicBezTo>
                      <a:pt x="8" y="19"/>
                      <a:pt x="8" y="21"/>
                      <a:pt x="8" y="23"/>
                    </a:cubicBezTo>
                    <a:cubicBezTo>
                      <a:pt x="9" y="24"/>
                      <a:pt x="8" y="24"/>
                      <a:pt x="7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1" y="28"/>
                      <a:pt x="12" y="29"/>
                    </a:cubicBezTo>
                    <a:cubicBezTo>
                      <a:pt x="13" y="30"/>
                      <a:pt x="15" y="31"/>
                      <a:pt x="17" y="31"/>
                    </a:cubicBezTo>
                    <a:cubicBezTo>
                      <a:pt x="17" y="32"/>
                      <a:pt x="18" y="33"/>
                      <a:pt x="18" y="33"/>
                    </a:cubicBezTo>
                    <a:lnTo>
                      <a:pt x="18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91F3A1-1219-20FD-BDD0-20254D43AD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66507" y="3774472"/>
              <a:ext cx="262800" cy="262800"/>
              <a:chOff x="3903073" y="3496769"/>
              <a:chExt cx="360000" cy="360000"/>
            </a:xfrm>
          </p:grpSpPr>
          <p:sp>
            <p:nvSpPr>
              <p:cNvPr id="41" name="Freeform 79">
                <a:extLst>
                  <a:ext uri="{FF2B5EF4-FFF2-40B4-BE49-F238E27FC236}">
                    <a16:creationId xmlns:a16="http://schemas.microsoft.com/office/drawing/2014/main" id="{19E9201B-7776-1295-5C4B-358DC6F63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3073" y="3496769"/>
                <a:ext cx="255385" cy="255385"/>
              </a:xfrm>
              <a:custGeom>
                <a:avLst/>
                <a:gdLst>
                  <a:gd name="T0" fmla="*/ 34 w 68"/>
                  <a:gd name="T1" fmla="*/ 68 h 68"/>
                  <a:gd name="T2" fmla="*/ 0 w 68"/>
                  <a:gd name="T3" fmla="*/ 34 h 68"/>
                  <a:gd name="T4" fmla="*/ 34 w 68"/>
                  <a:gd name="T5" fmla="*/ 0 h 68"/>
                  <a:gd name="T6" fmla="*/ 68 w 68"/>
                  <a:gd name="T7" fmla="*/ 34 h 68"/>
                  <a:gd name="T8" fmla="*/ 34 w 68"/>
                  <a:gd name="T9" fmla="*/ 68 h 68"/>
                  <a:gd name="T10" fmla="*/ 34 w 68"/>
                  <a:gd name="T11" fmla="*/ 4 h 68"/>
                  <a:gd name="T12" fmla="*/ 4 w 68"/>
                  <a:gd name="T13" fmla="*/ 34 h 68"/>
                  <a:gd name="T14" fmla="*/ 34 w 68"/>
                  <a:gd name="T15" fmla="*/ 64 h 68"/>
                  <a:gd name="T16" fmla="*/ 64 w 68"/>
                  <a:gd name="T17" fmla="*/ 34 h 68"/>
                  <a:gd name="T18" fmla="*/ 34 w 68"/>
                  <a:gd name="T1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8">
                    <a:moveTo>
                      <a:pt x="34" y="68"/>
                    </a:move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ubicBezTo>
                      <a:pt x="68" y="53"/>
                      <a:pt x="53" y="68"/>
                      <a:pt x="34" y="68"/>
                    </a:cubicBezTo>
                    <a:close/>
                    <a:moveTo>
                      <a:pt x="34" y="4"/>
                    </a:moveTo>
                    <a:cubicBezTo>
                      <a:pt x="17" y="4"/>
                      <a:pt x="4" y="17"/>
                      <a:pt x="4" y="34"/>
                    </a:cubicBezTo>
                    <a:cubicBezTo>
                      <a:pt x="4" y="51"/>
                      <a:pt x="17" y="64"/>
                      <a:pt x="34" y="64"/>
                    </a:cubicBezTo>
                    <a:cubicBezTo>
                      <a:pt x="51" y="64"/>
                      <a:pt x="64" y="51"/>
                      <a:pt x="64" y="34"/>
                    </a:cubicBezTo>
                    <a:cubicBezTo>
                      <a:pt x="64" y="17"/>
                      <a:pt x="51" y="4"/>
                      <a:pt x="34" y="4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2" name="Freeform 80">
                <a:extLst>
                  <a:ext uri="{FF2B5EF4-FFF2-40B4-BE49-F238E27FC236}">
                    <a16:creationId xmlns:a16="http://schemas.microsoft.com/office/drawing/2014/main" id="{32E5F6D3-37C8-80FA-E05F-8F0428553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150" y="3699846"/>
                <a:ext cx="156923" cy="156923"/>
              </a:xfrm>
              <a:custGeom>
                <a:avLst/>
                <a:gdLst>
                  <a:gd name="T0" fmla="*/ 40 w 42"/>
                  <a:gd name="T1" fmla="*/ 42 h 42"/>
                  <a:gd name="T2" fmla="*/ 39 w 42"/>
                  <a:gd name="T3" fmla="*/ 41 h 42"/>
                  <a:gd name="T4" fmla="*/ 1 w 42"/>
                  <a:gd name="T5" fmla="*/ 4 h 42"/>
                  <a:gd name="T6" fmla="*/ 1 w 42"/>
                  <a:gd name="T7" fmla="*/ 1 h 42"/>
                  <a:gd name="T8" fmla="*/ 4 w 42"/>
                  <a:gd name="T9" fmla="*/ 1 h 42"/>
                  <a:gd name="T10" fmla="*/ 41 w 42"/>
                  <a:gd name="T11" fmla="*/ 39 h 42"/>
                  <a:gd name="T12" fmla="*/ 41 w 42"/>
                  <a:gd name="T13" fmla="*/ 41 h 42"/>
                  <a:gd name="T14" fmla="*/ 40 w 42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40" y="42"/>
                    </a:moveTo>
                    <a:cubicBezTo>
                      <a:pt x="39" y="42"/>
                      <a:pt x="39" y="42"/>
                      <a:pt x="39" y="4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41"/>
                      <a:pt x="41" y="41"/>
                    </a:cubicBezTo>
                    <a:cubicBezTo>
                      <a:pt x="41" y="42"/>
                      <a:pt x="41" y="42"/>
                      <a:pt x="40" y="42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CBC6FC4-DF17-7DA5-C91A-15AAF05F63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63220" y="5912291"/>
              <a:ext cx="211139" cy="262800"/>
              <a:chOff x="5653088" y="1797050"/>
              <a:chExt cx="298450" cy="371475"/>
            </a:xfrm>
            <a:solidFill>
              <a:sysClr val="window" lastClr="FFFFFF"/>
            </a:solidFill>
          </p:grpSpPr>
          <p:sp>
            <p:nvSpPr>
              <p:cNvPr id="29" name="Freeform 84">
                <a:extLst>
                  <a:ext uri="{FF2B5EF4-FFF2-40B4-BE49-F238E27FC236}">
                    <a16:creationId xmlns:a16="http://schemas.microsoft.com/office/drawing/2014/main" id="{12EEF9C9-37BF-066F-F275-989C3BF8B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2163" y="1982788"/>
                <a:ext cx="79375" cy="107950"/>
              </a:xfrm>
              <a:custGeom>
                <a:avLst/>
                <a:gdLst>
                  <a:gd name="T0" fmla="*/ 6 w 20"/>
                  <a:gd name="T1" fmla="*/ 28 h 28"/>
                  <a:gd name="T2" fmla="*/ 2 w 20"/>
                  <a:gd name="T3" fmla="*/ 28 h 28"/>
                  <a:gd name="T4" fmla="*/ 0 w 20"/>
                  <a:gd name="T5" fmla="*/ 26 h 28"/>
                  <a:gd name="T6" fmla="*/ 2 w 20"/>
                  <a:gd name="T7" fmla="*/ 24 h 28"/>
                  <a:gd name="T8" fmla="*/ 6 w 20"/>
                  <a:gd name="T9" fmla="*/ 24 h 28"/>
                  <a:gd name="T10" fmla="*/ 16 w 20"/>
                  <a:gd name="T11" fmla="*/ 14 h 28"/>
                  <a:gd name="T12" fmla="*/ 6 w 20"/>
                  <a:gd name="T13" fmla="*/ 4 h 28"/>
                  <a:gd name="T14" fmla="*/ 2 w 20"/>
                  <a:gd name="T15" fmla="*/ 4 h 28"/>
                  <a:gd name="T16" fmla="*/ 0 w 20"/>
                  <a:gd name="T17" fmla="*/ 2 h 28"/>
                  <a:gd name="T18" fmla="*/ 2 w 20"/>
                  <a:gd name="T19" fmla="*/ 0 h 28"/>
                  <a:gd name="T20" fmla="*/ 6 w 20"/>
                  <a:gd name="T21" fmla="*/ 0 h 28"/>
                  <a:gd name="T22" fmla="*/ 20 w 20"/>
                  <a:gd name="T23" fmla="*/ 14 h 28"/>
                  <a:gd name="T24" fmla="*/ 6 w 20"/>
                  <a:gd name="T2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28">
                    <a:moveTo>
                      <a:pt x="6" y="28"/>
                    </a:moveTo>
                    <a:cubicBezTo>
                      <a:pt x="2" y="28"/>
                      <a:pt x="2" y="28"/>
                      <a:pt x="2" y="28"/>
                    </a:cubicBezTo>
                    <a:cubicBezTo>
                      <a:pt x="1" y="28"/>
                      <a:pt x="0" y="27"/>
                      <a:pt x="0" y="26"/>
                    </a:cubicBezTo>
                    <a:cubicBezTo>
                      <a:pt x="0" y="25"/>
                      <a:pt x="1" y="24"/>
                      <a:pt x="2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12" y="24"/>
                      <a:pt x="16" y="20"/>
                      <a:pt x="16" y="14"/>
                    </a:cubicBezTo>
                    <a:cubicBezTo>
                      <a:pt x="16" y="8"/>
                      <a:pt x="12" y="4"/>
                      <a:pt x="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4" y="0"/>
                      <a:pt x="20" y="6"/>
                      <a:pt x="20" y="14"/>
                    </a:cubicBezTo>
                    <a:cubicBezTo>
                      <a:pt x="20" y="22"/>
                      <a:pt x="14" y="28"/>
                      <a:pt x="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0" name="Freeform 85">
                <a:extLst>
                  <a:ext uri="{FF2B5EF4-FFF2-40B4-BE49-F238E27FC236}">
                    <a16:creationId xmlns:a16="http://schemas.microsoft.com/office/drawing/2014/main" id="{0B08208F-D211-79B1-D956-8CAA7312B0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8963" y="1952625"/>
                <a:ext cx="219075" cy="215900"/>
              </a:xfrm>
              <a:custGeom>
                <a:avLst/>
                <a:gdLst>
                  <a:gd name="T0" fmla="*/ 46 w 56"/>
                  <a:gd name="T1" fmla="*/ 56 h 56"/>
                  <a:gd name="T2" fmla="*/ 10 w 56"/>
                  <a:gd name="T3" fmla="*/ 56 h 56"/>
                  <a:gd name="T4" fmla="*/ 0 w 56"/>
                  <a:gd name="T5" fmla="*/ 46 h 56"/>
                  <a:gd name="T6" fmla="*/ 0 w 56"/>
                  <a:gd name="T7" fmla="*/ 2 h 56"/>
                  <a:gd name="T8" fmla="*/ 2 w 56"/>
                  <a:gd name="T9" fmla="*/ 0 h 56"/>
                  <a:gd name="T10" fmla="*/ 54 w 56"/>
                  <a:gd name="T11" fmla="*/ 0 h 56"/>
                  <a:gd name="T12" fmla="*/ 56 w 56"/>
                  <a:gd name="T13" fmla="*/ 2 h 56"/>
                  <a:gd name="T14" fmla="*/ 56 w 56"/>
                  <a:gd name="T15" fmla="*/ 46 h 56"/>
                  <a:gd name="T16" fmla="*/ 46 w 56"/>
                  <a:gd name="T17" fmla="*/ 56 h 56"/>
                  <a:gd name="T18" fmla="*/ 4 w 56"/>
                  <a:gd name="T19" fmla="*/ 4 h 56"/>
                  <a:gd name="T20" fmla="*/ 4 w 56"/>
                  <a:gd name="T21" fmla="*/ 46 h 56"/>
                  <a:gd name="T22" fmla="*/ 10 w 56"/>
                  <a:gd name="T23" fmla="*/ 52 h 56"/>
                  <a:gd name="T24" fmla="*/ 46 w 56"/>
                  <a:gd name="T25" fmla="*/ 52 h 56"/>
                  <a:gd name="T26" fmla="*/ 52 w 56"/>
                  <a:gd name="T27" fmla="*/ 46 h 56"/>
                  <a:gd name="T28" fmla="*/ 52 w 56"/>
                  <a:gd name="T29" fmla="*/ 4 h 56"/>
                  <a:gd name="T30" fmla="*/ 4 w 56"/>
                  <a:gd name="T31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6" h="56">
                    <a:moveTo>
                      <a:pt x="46" y="56"/>
                    </a:moveTo>
                    <a:cubicBezTo>
                      <a:pt x="10" y="56"/>
                      <a:pt x="10" y="56"/>
                      <a:pt x="10" y="56"/>
                    </a:cubicBezTo>
                    <a:cubicBezTo>
                      <a:pt x="4" y="56"/>
                      <a:pt x="0" y="52"/>
                      <a:pt x="0" y="4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52"/>
                      <a:pt x="52" y="56"/>
                      <a:pt x="46" y="56"/>
                    </a:cubicBezTo>
                    <a:close/>
                    <a:moveTo>
                      <a:pt x="4" y="4"/>
                    </a:moveTo>
                    <a:cubicBezTo>
                      <a:pt x="4" y="46"/>
                      <a:pt x="4" y="46"/>
                      <a:pt x="4" y="46"/>
                    </a:cubicBezTo>
                    <a:cubicBezTo>
                      <a:pt x="4" y="49"/>
                      <a:pt x="7" y="52"/>
                      <a:pt x="10" y="52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9" y="52"/>
                      <a:pt x="52" y="49"/>
                      <a:pt x="52" y="46"/>
                    </a:cubicBezTo>
                    <a:cubicBezTo>
                      <a:pt x="52" y="4"/>
                      <a:pt x="52" y="4"/>
                      <a:pt x="52" y="4"/>
                    </a:cubicBez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1" name="Freeform 86">
                <a:extLst>
                  <a:ext uri="{FF2B5EF4-FFF2-40B4-BE49-F238E27FC236}">
                    <a16:creationId xmlns:a16="http://schemas.microsoft.com/office/drawing/2014/main" id="{83343F23-28B0-F5A0-B521-14E5441378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3113" y="1797050"/>
                <a:ext cx="74612" cy="104775"/>
              </a:xfrm>
              <a:custGeom>
                <a:avLst/>
                <a:gdLst>
                  <a:gd name="T0" fmla="*/ 10 w 19"/>
                  <a:gd name="T1" fmla="*/ 27 h 27"/>
                  <a:gd name="T2" fmla="*/ 10 w 19"/>
                  <a:gd name="T3" fmla="*/ 27 h 27"/>
                  <a:gd name="T4" fmla="*/ 6 w 19"/>
                  <a:gd name="T5" fmla="*/ 26 h 27"/>
                  <a:gd name="T6" fmla="*/ 1 w 19"/>
                  <a:gd name="T7" fmla="*/ 21 h 27"/>
                  <a:gd name="T8" fmla="*/ 1 w 19"/>
                  <a:gd name="T9" fmla="*/ 15 h 27"/>
                  <a:gd name="T10" fmla="*/ 3 w 19"/>
                  <a:gd name="T11" fmla="*/ 11 h 27"/>
                  <a:gd name="T12" fmla="*/ 5 w 19"/>
                  <a:gd name="T13" fmla="*/ 3 h 27"/>
                  <a:gd name="T14" fmla="*/ 5 w 19"/>
                  <a:gd name="T15" fmla="*/ 1 h 27"/>
                  <a:gd name="T16" fmla="*/ 7 w 19"/>
                  <a:gd name="T17" fmla="*/ 0 h 27"/>
                  <a:gd name="T18" fmla="*/ 19 w 19"/>
                  <a:gd name="T19" fmla="*/ 17 h 27"/>
                  <a:gd name="T20" fmla="*/ 10 w 19"/>
                  <a:gd name="T21" fmla="*/ 27 h 27"/>
                  <a:gd name="T22" fmla="*/ 10 w 19"/>
                  <a:gd name="T23" fmla="*/ 6 h 27"/>
                  <a:gd name="T24" fmla="*/ 7 w 19"/>
                  <a:gd name="T25" fmla="*/ 14 h 27"/>
                  <a:gd name="T26" fmla="*/ 5 w 19"/>
                  <a:gd name="T27" fmla="*/ 16 h 27"/>
                  <a:gd name="T28" fmla="*/ 5 w 19"/>
                  <a:gd name="T29" fmla="*/ 20 h 27"/>
                  <a:gd name="T30" fmla="*/ 7 w 19"/>
                  <a:gd name="T31" fmla="*/ 22 h 27"/>
                  <a:gd name="T32" fmla="*/ 10 w 19"/>
                  <a:gd name="T33" fmla="*/ 23 h 27"/>
                  <a:gd name="T34" fmla="*/ 15 w 19"/>
                  <a:gd name="T35" fmla="*/ 17 h 27"/>
                  <a:gd name="T36" fmla="*/ 10 w 19"/>
                  <a:gd name="T37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27">
                    <a:moveTo>
                      <a:pt x="10" y="27"/>
                    </a:moveTo>
                    <a:cubicBezTo>
                      <a:pt x="10" y="27"/>
                      <a:pt x="10" y="27"/>
                      <a:pt x="10" y="27"/>
                    </a:cubicBezTo>
                    <a:cubicBezTo>
                      <a:pt x="9" y="27"/>
                      <a:pt x="7" y="26"/>
                      <a:pt x="6" y="26"/>
                    </a:cubicBezTo>
                    <a:cubicBezTo>
                      <a:pt x="4" y="25"/>
                      <a:pt x="2" y="23"/>
                      <a:pt x="1" y="21"/>
                    </a:cubicBezTo>
                    <a:cubicBezTo>
                      <a:pt x="0" y="19"/>
                      <a:pt x="0" y="17"/>
                      <a:pt x="1" y="15"/>
                    </a:cubicBezTo>
                    <a:cubicBezTo>
                      <a:pt x="2" y="13"/>
                      <a:pt x="3" y="12"/>
                      <a:pt x="3" y="11"/>
                    </a:cubicBezTo>
                    <a:cubicBezTo>
                      <a:pt x="6" y="8"/>
                      <a:pt x="7" y="7"/>
                      <a:pt x="5" y="3"/>
                    </a:cubicBezTo>
                    <a:cubicBezTo>
                      <a:pt x="4" y="3"/>
                      <a:pt x="4" y="2"/>
                      <a:pt x="5" y="1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16" y="3"/>
                      <a:pt x="19" y="11"/>
                      <a:pt x="19" y="17"/>
                    </a:cubicBezTo>
                    <a:cubicBezTo>
                      <a:pt x="18" y="23"/>
                      <a:pt x="14" y="27"/>
                      <a:pt x="10" y="27"/>
                    </a:cubicBezTo>
                    <a:close/>
                    <a:moveTo>
                      <a:pt x="10" y="6"/>
                    </a:moveTo>
                    <a:cubicBezTo>
                      <a:pt x="10" y="9"/>
                      <a:pt x="8" y="12"/>
                      <a:pt x="7" y="14"/>
                    </a:cubicBezTo>
                    <a:cubicBezTo>
                      <a:pt x="6" y="15"/>
                      <a:pt x="5" y="15"/>
                      <a:pt x="5" y="16"/>
                    </a:cubicBezTo>
                    <a:cubicBezTo>
                      <a:pt x="4" y="17"/>
                      <a:pt x="4" y="19"/>
                      <a:pt x="5" y="20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8" y="22"/>
                      <a:pt x="9" y="23"/>
                      <a:pt x="10" y="23"/>
                    </a:cubicBezTo>
                    <a:cubicBezTo>
                      <a:pt x="13" y="23"/>
                      <a:pt x="14" y="19"/>
                      <a:pt x="15" y="17"/>
                    </a:cubicBezTo>
                    <a:cubicBezTo>
                      <a:pt x="15" y="13"/>
                      <a:pt x="14" y="8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2" name="Freeform 87">
                <a:extLst>
                  <a:ext uri="{FF2B5EF4-FFF2-40B4-BE49-F238E27FC236}">
                    <a16:creationId xmlns:a16="http://schemas.microsoft.com/office/drawing/2014/main" id="{41F3DDF0-3EE5-3FEA-36DD-D18BD5A78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25" y="1878013"/>
                <a:ext cx="58737" cy="88900"/>
              </a:xfrm>
              <a:custGeom>
                <a:avLst/>
                <a:gdLst>
                  <a:gd name="T0" fmla="*/ 2 w 15"/>
                  <a:gd name="T1" fmla="*/ 23 h 23"/>
                  <a:gd name="T2" fmla="*/ 1 w 15"/>
                  <a:gd name="T3" fmla="*/ 23 h 23"/>
                  <a:gd name="T4" fmla="*/ 0 w 15"/>
                  <a:gd name="T5" fmla="*/ 20 h 23"/>
                  <a:gd name="T6" fmla="*/ 11 w 15"/>
                  <a:gd name="T7" fmla="*/ 1 h 23"/>
                  <a:gd name="T8" fmla="*/ 13 w 15"/>
                  <a:gd name="T9" fmla="*/ 1 h 23"/>
                  <a:gd name="T10" fmla="*/ 14 w 15"/>
                  <a:gd name="T11" fmla="*/ 3 h 23"/>
                  <a:gd name="T12" fmla="*/ 4 w 15"/>
                  <a:gd name="T13" fmla="*/ 22 h 23"/>
                  <a:gd name="T14" fmla="*/ 2 w 15"/>
                  <a:gd name="T1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3">
                    <a:moveTo>
                      <a:pt x="2" y="23"/>
                    </a:moveTo>
                    <a:cubicBezTo>
                      <a:pt x="2" y="23"/>
                      <a:pt x="1" y="23"/>
                      <a:pt x="1" y="23"/>
                    </a:cubicBezTo>
                    <a:cubicBezTo>
                      <a:pt x="0" y="22"/>
                      <a:pt x="0" y="21"/>
                      <a:pt x="0" y="2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2" y="0"/>
                      <a:pt x="13" y="1"/>
                    </a:cubicBezTo>
                    <a:cubicBezTo>
                      <a:pt x="14" y="1"/>
                      <a:pt x="15" y="2"/>
                      <a:pt x="14" y="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3" y="23"/>
                      <a:pt x="3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3" name="Freeform 88">
                <a:extLst>
                  <a:ext uri="{FF2B5EF4-FFF2-40B4-BE49-F238E27FC236}">
                    <a16:creationId xmlns:a16="http://schemas.microsoft.com/office/drawing/2014/main" id="{08FD6BF2-01B9-8691-1373-7A210F6A8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288" y="1882775"/>
                <a:ext cx="44450" cy="84138"/>
              </a:xfrm>
              <a:custGeom>
                <a:avLst/>
                <a:gdLst>
                  <a:gd name="T0" fmla="*/ 2 w 11"/>
                  <a:gd name="T1" fmla="*/ 22 h 22"/>
                  <a:gd name="T2" fmla="*/ 1 w 11"/>
                  <a:gd name="T3" fmla="*/ 22 h 22"/>
                  <a:gd name="T4" fmla="*/ 0 w 11"/>
                  <a:gd name="T5" fmla="*/ 19 h 22"/>
                  <a:gd name="T6" fmla="*/ 7 w 11"/>
                  <a:gd name="T7" fmla="*/ 2 h 22"/>
                  <a:gd name="T8" fmla="*/ 9 w 11"/>
                  <a:gd name="T9" fmla="*/ 1 h 22"/>
                  <a:gd name="T10" fmla="*/ 10 w 11"/>
                  <a:gd name="T11" fmla="*/ 3 h 22"/>
                  <a:gd name="T12" fmla="*/ 4 w 11"/>
                  <a:gd name="T13" fmla="*/ 21 h 22"/>
                  <a:gd name="T14" fmla="*/ 2 w 1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2">
                    <a:moveTo>
                      <a:pt x="2" y="22"/>
                    </a:moveTo>
                    <a:cubicBezTo>
                      <a:pt x="2" y="22"/>
                      <a:pt x="2" y="22"/>
                      <a:pt x="1" y="22"/>
                    </a:cubicBezTo>
                    <a:cubicBezTo>
                      <a:pt x="0" y="21"/>
                      <a:pt x="0" y="20"/>
                      <a:pt x="0" y="19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1"/>
                      <a:pt x="8" y="0"/>
                      <a:pt x="9" y="1"/>
                    </a:cubicBezTo>
                    <a:cubicBezTo>
                      <a:pt x="10" y="1"/>
                      <a:pt x="11" y="2"/>
                      <a:pt x="10" y="3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2"/>
                      <a:pt x="3" y="22"/>
                      <a:pt x="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4" name="Freeform 89">
                <a:extLst>
                  <a:ext uri="{FF2B5EF4-FFF2-40B4-BE49-F238E27FC236}">
                    <a16:creationId xmlns:a16="http://schemas.microsoft.com/office/drawing/2014/main" id="{13101B33-2AA6-848E-FCFA-B1A664BD7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088" y="1858963"/>
                <a:ext cx="93662" cy="107950"/>
              </a:xfrm>
              <a:custGeom>
                <a:avLst/>
                <a:gdLst>
                  <a:gd name="T0" fmla="*/ 22 w 24"/>
                  <a:gd name="T1" fmla="*/ 28 h 28"/>
                  <a:gd name="T2" fmla="*/ 22 w 24"/>
                  <a:gd name="T3" fmla="*/ 28 h 28"/>
                  <a:gd name="T4" fmla="*/ 10 w 24"/>
                  <a:gd name="T5" fmla="*/ 28 h 28"/>
                  <a:gd name="T6" fmla="*/ 8 w 24"/>
                  <a:gd name="T7" fmla="*/ 27 h 28"/>
                  <a:gd name="T8" fmla="*/ 2 w 24"/>
                  <a:gd name="T9" fmla="*/ 15 h 28"/>
                  <a:gd name="T10" fmla="*/ 2 w 24"/>
                  <a:gd name="T11" fmla="*/ 14 h 28"/>
                  <a:gd name="T12" fmla="*/ 0 w 24"/>
                  <a:gd name="T13" fmla="*/ 2 h 28"/>
                  <a:gd name="T14" fmla="*/ 1 w 24"/>
                  <a:gd name="T15" fmla="*/ 0 h 28"/>
                  <a:gd name="T16" fmla="*/ 3 w 24"/>
                  <a:gd name="T17" fmla="*/ 0 h 28"/>
                  <a:gd name="T18" fmla="*/ 13 w 24"/>
                  <a:gd name="T19" fmla="*/ 6 h 28"/>
                  <a:gd name="T20" fmla="*/ 14 w 24"/>
                  <a:gd name="T21" fmla="*/ 7 h 28"/>
                  <a:gd name="T22" fmla="*/ 24 w 24"/>
                  <a:gd name="T23" fmla="*/ 25 h 28"/>
                  <a:gd name="T24" fmla="*/ 24 w 24"/>
                  <a:gd name="T25" fmla="*/ 26 h 28"/>
                  <a:gd name="T26" fmla="*/ 22 w 24"/>
                  <a:gd name="T27" fmla="*/ 28 h 28"/>
                  <a:gd name="T28" fmla="*/ 11 w 24"/>
                  <a:gd name="T29" fmla="*/ 24 h 28"/>
                  <a:gd name="T30" fmla="*/ 19 w 24"/>
                  <a:gd name="T31" fmla="*/ 24 h 28"/>
                  <a:gd name="T32" fmla="*/ 11 w 24"/>
                  <a:gd name="T33" fmla="*/ 9 h 28"/>
                  <a:gd name="T34" fmla="*/ 5 w 24"/>
                  <a:gd name="T35" fmla="*/ 6 h 28"/>
                  <a:gd name="T36" fmla="*/ 6 w 24"/>
                  <a:gd name="T37" fmla="*/ 13 h 28"/>
                  <a:gd name="T38" fmla="*/ 11 w 24"/>
                  <a:gd name="T39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28">
                    <a:moveTo>
                      <a:pt x="22" y="28"/>
                    </a:moveTo>
                    <a:cubicBezTo>
                      <a:pt x="22" y="28"/>
                      <a:pt x="22" y="28"/>
                      <a:pt x="22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5"/>
                      <a:pt x="2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4" y="7"/>
                      <a:pt x="14" y="7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4" y="25"/>
                      <a:pt x="24" y="25"/>
                      <a:pt x="24" y="26"/>
                    </a:cubicBezTo>
                    <a:cubicBezTo>
                      <a:pt x="24" y="27"/>
                      <a:pt x="23" y="28"/>
                      <a:pt x="22" y="28"/>
                    </a:cubicBezTo>
                    <a:close/>
                    <a:moveTo>
                      <a:pt x="11" y="24"/>
                    </a:moveTo>
                    <a:cubicBezTo>
                      <a:pt x="19" y="24"/>
                      <a:pt x="19" y="24"/>
                      <a:pt x="19" y="24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6" y="13"/>
                      <a:pt x="6" y="13"/>
                      <a:pt x="6" y="13"/>
                    </a:cubicBezTo>
                    <a:lnTo>
                      <a:pt x="11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5" name="Freeform 90">
                <a:extLst>
                  <a:ext uri="{FF2B5EF4-FFF2-40B4-BE49-F238E27FC236}">
                    <a16:creationId xmlns:a16="http://schemas.microsoft.com/office/drawing/2014/main" id="{E2D4623E-5C19-3685-1C12-479D0E59A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1025" y="1882775"/>
                <a:ext cx="47625" cy="38100"/>
              </a:xfrm>
              <a:custGeom>
                <a:avLst/>
                <a:gdLst>
                  <a:gd name="T0" fmla="*/ 2 w 12"/>
                  <a:gd name="T1" fmla="*/ 10 h 10"/>
                  <a:gd name="T2" fmla="*/ 0 w 12"/>
                  <a:gd name="T3" fmla="*/ 9 h 10"/>
                  <a:gd name="T4" fmla="*/ 1 w 12"/>
                  <a:gd name="T5" fmla="*/ 6 h 10"/>
                  <a:gd name="T6" fmla="*/ 9 w 12"/>
                  <a:gd name="T7" fmla="*/ 0 h 10"/>
                  <a:gd name="T8" fmla="*/ 12 w 12"/>
                  <a:gd name="T9" fmla="*/ 1 h 10"/>
                  <a:gd name="T10" fmla="*/ 11 w 12"/>
                  <a:gd name="T11" fmla="*/ 4 h 10"/>
                  <a:gd name="T12" fmla="*/ 3 w 12"/>
                  <a:gd name="T13" fmla="*/ 10 h 10"/>
                  <a:gd name="T14" fmla="*/ 2 w 12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">
                    <a:moveTo>
                      <a:pt x="2" y="10"/>
                    </a:moveTo>
                    <a:cubicBezTo>
                      <a:pt x="1" y="10"/>
                      <a:pt x="1" y="10"/>
                      <a:pt x="0" y="9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2" y="1"/>
                    </a:cubicBezTo>
                    <a:cubicBezTo>
                      <a:pt x="12" y="2"/>
                      <a:pt x="12" y="3"/>
                      <a:pt x="11" y="4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2" y="10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6" name="Freeform 91">
                <a:extLst>
                  <a:ext uri="{FF2B5EF4-FFF2-40B4-BE49-F238E27FC236}">
                    <a16:creationId xmlns:a16="http://schemas.microsoft.com/office/drawing/2014/main" id="{22F855AB-1013-11E6-106F-C4F03C24AD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6750" y="1797050"/>
                <a:ext cx="79375" cy="169863"/>
              </a:xfrm>
              <a:custGeom>
                <a:avLst/>
                <a:gdLst>
                  <a:gd name="T0" fmla="*/ 18 w 20"/>
                  <a:gd name="T1" fmla="*/ 44 h 44"/>
                  <a:gd name="T2" fmla="*/ 2 w 20"/>
                  <a:gd name="T3" fmla="*/ 44 h 44"/>
                  <a:gd name="T4" fmla="*/ 0 w 20"/>
                  <a:gd name="T5" fmla="*/ 42 h 44"/>
                  <a:gd name="T6" fmla="*/ 0 w 20"/>
                  <a:gd name="T7" fmla="*/ 2 h 44"/>
                  <a:gd name="T8" fmla="*/ 2 w 20"/>
                  <a:gd name="T9" fmla="*/ 0 h 44"/>
                  <a:gd name="T10" fmla="*/ 18 w 20"/>
                  <a:gd name="T11" fmla="*/ 0 h 44"/>
                  <a:gd name="T12" fmla="*/ 20 w 20"/>
                  <a:gd name="T13" fmla="*/ 2 h 44"/>
                  <a:gd name="T14" fmla="*/ 20 w 20"/>
                  <a:gd name="T15" fmla="*/ 42 h 44"/>
                  <a:gd name="T16" fmla="*/ 18 w 20"/>
                  <a:gd name="T17" fmla="*/ 44 h 44"/>
                  <a:gd name="T18" fmla="*/ 4 w 20"/>
                  <a:gd name="T19" fmla="*/ 40 h 44"/>
                  <a:gd name="T20" fmla="*/ 16 w 20"/>
                  <a:gd name="T21" fmla="*/ 40 h 44"/>
                  <a:gd name="T22" fmla="*/ 16 w 20"/>
                  <a:gd name="T23" fmla="*/ 4 h 44"/>
                  <a:gd name="T24" fmla="*/ 4 w 20"/>
                  <a:gd name="T25" fmla="*/ 4 h 44"/>
                  <a:gd name="T26" fmla="*/ 4 w 20"/>
                  <a:gd name="T27" fmla="*/ 4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44">
                    <a:moveTo>
                      <a:pt x="18" y="44"/>
                    </a:move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9" y="0"/>
                      <a:pt x="20" y="1"/>
                      <a:pt x="20" y="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3"/>
                      <a:pt x="19" y="44"/>
                      <a:pt x="18" y="44"/>
                    </a:cubicBezTo>
                    <a:close/>
                    <a:moveTo>
                      <a:pt x="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4" y="4"/>
                      <a:pt x="4" y="4"/>
                      <a:pt x="4" y="4"/>
                    </a:cubicBezTo>
                    <a:lnTo>
                      <a:pt x="4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7" name="Freeform 92">
                <a:extLst>
                  <a:ext uri="{FF2B5EF4-FFF2-40B4-BE49-F238E27FC236}">
                    <a16:creationId xmlns:a16="http://schemas.microsoft.com/office/drawing/2014/main" id="{D0C9C857-31AF-BFCF-70E2-AC7D54F5C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1828800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8" name="Freeform 93">
                <a:extLst>
                  <a:ext uri="{FF2B5EF4-FFF2-40B4-BE49-F238E27FC236}">
                    <a16:creationId xmlns:a16="http://schemas.microsoft.com/office/drawing/2014/main" id="{524BC1FB-3846-3DB0-5976-D72A4E502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4375" y="1858963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39" name="Freeform 94">
                <a:extLst>
                  <a:ext uri="{FF2B5EF4-FFF2-40B4-BE49-F238E27FC236}">
                    <a16:creationId xmlns:a16="http://schemas.microsoft.com/office/drawing/2014/main" id="{A0F7815C-3C06-C7C4-9EA5-EF7440E42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1890713"/>
                <a:ext cx="47625" cy="14288"/>
              </a:xfrm>
              <a:custGeom>
                <a:avLst/>
                <a:gdLst>
                  <a:gd name="T0" fmla="*/ 10 w 12"/>
                  <a:gd name="T1" fmla="*/ 4 h 4"/>
                  <a:gd name="T2" fmla="*/ 2 w 12"/>
                  <a:gd name="T3" fmla="*/ 4 h 4"/>
                  <a:gd name="T4" fmla="*/ 0 w 12"/>
                  <a:gd name="T5" fmla="*/ 2 h 4"/>
                  <a:gd name="T6" fmla="*/ 2 w 12"/>
                  <a:gd name="T7" fmla="*/ 0 h 4"/>
                  <a:gd name="T8" fmla="*/ 10 w 12"/>
                  <a:gd name="T9" fmla="*/ 0 h 4"/>
                  <a:gd name="T10" fmla="*/ 12 w 12"/>
                  <a:gd name="T11" fmla="*/ 2 h 4"/>
                  <a:gd name="T12" fmla="*/ 10 w 1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0"/>
                      <a:pt x="12" y="1"/>
                      <a:pt x="12" y="2"/>
                    </a:cubicBezTo>
                    <a:cubicBezTo>
                      <a:pt x="12" y="3"/>
                      <a:pt x="11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0" name="Freeform 95">
                <a:extLst>
                  <a:ext uri="{FF2B5EF4-FFF2-40B4-BE49-F238E27FC236}">
                    <a16:creationId xmlns:a16="http://schemas.microsoft.com/office/drawing/2014/main" id="{CD4D5EEE-24EE-5B85-274E-8C68FDB75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4375" y="19208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46D18F2-905D-7AA2-8769-6A0E271C2B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43426" y="5786928"/>
              <a:ext cx="252001" cy="252000"/>
              <a:chOff x="2182813" y="2376488"/>
              <a:chExt cx="371476" cy="371475"/>
            </a:xfrm>
            <a:solidFill>
              <a:sysClr val="window" lastClr="FFFFFF"/>
            </a:solidFill>
          </p:grpSpPr>
          <p:sp>
            <p:nvSpPr>
              <p:cNvPr id="27" name="Freeform 101">
                <a:extLst>
                  <a:ext uri="{FF2B5EF4-FFF2-40B4-BE49-F238E27FC236}">
                    <a16:creationId xmlns:a16="http://schemas.microsoft.com/office/drawing/2014/main" id="{036ACD2C-5B4A-BEDE-488E-907C39F08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2813" y="2376488"/>
                <a:ext cx="371475" cy="371475"/>
              </a:xfrm>
              <a:custGeom>
                <a:avLst/>
                <a:gdLst>
                  <a:gd name="T0" fmla="*/ 42 w 96"/>
                  <a:gd name="T1" fmla="*/ 96 h 96"/>
                  <a:gd name="T2" fmla="*/ 40 w 96"/>
                  <a:gd name="T3" fmla="*/ 83 h 96"/>
                  <a:gd name="T4" fmla="*/ 23 w 96"/>
                  <a:gd name="T5" fmla="*/ 88 h 96"/>
                  <a:gd name="T6" fmla="*/ 8 w 96"/>
                  <a:gd name="T7" fmla="*/ 76 h 96"/>
                  <a:gd name="T8" fmla="*/ 8 w 96"/>
                  <a:gd name="T9" fmla="*/ 73 h 96"/>
                  <a:gd name="T10" fmla="*/ 13 w 96"/>
                  <a:gd name="T11" fmla="*/ 56 h 96"/>
                  <a:gd name="T12" fmla="*/ 0 w 96"/>
                  <a:gd name="T13" fmla="*/ 54 h 96"/>
                  <a:gd name="T14" fmla="*/ 2 w 96"/>
                  <a:gd name="T15" fmla="*/ 40 h 96"/>
                  <a:gd name="T16" fmla="*/ 17 w 96"/>
                  <a:gd name="T17" fmla="*/ 31 h 96"/>
                  <a:gd name="T18" fmla="*/ 8 w 96"/>
                  <a:gd name="T19" fmla="*/ 21 h 96"/>
                  <a:gd name="T20" fmla="*/ 20 w 96"/>
                  <a:gd name="T21" fmla="*/ 8 h 96"/>
                  <a:gd name="T22" fmla="*/ 31 w 96"/>
                  <a:gd name="T23" fmla="*/ 17 h 96"/>
                  <a:gd name="T24" fmla="*/ 40 w 96"/>
                  <a:gd name="T25" fmla="*/ 2 h 96"/>
                  <a:gd name="T26" fmla="*/ 54 w 96"/>
                  <a:gd name="T27" fmla="*/ 0 h 96"/>
                  <a:gd name="T28" fmla="*/ 56 w 96"/>
                  <a:gd name="T29" fmla="*/ 13 h 96"/>
                  <a:gd name="T30" fmla="*/ 67 w 96"/>
                  <a:gd name="T31" fmla="*/ 20 h 96"/>
                  <a:gd name="T32" fmla="*/ 54 w 96"/>
                  <a:gd name="T33" fmla="*/ 17 h 96"/>
                  <a:gd name="T34" fmla="*/ 52 w 96"/>
                  <a:gd name="T35" fmla="*/ 4 h 96"/>
                  <a:gd name="T36" fmla="*/ 44 w 96"/>
                  <a:gd name="T37" fmla="*/ 15 h 96"/>
                  <a:gd name="T38" fmla="*/ 31 w 96"/>
                  <a:gd name="T39" fmla="*/ 21 h 96"/>
                  <a:gd name="T40" fmla="*/ 21 w 96"/>
                  <a:gd name="T41" fmla="*/ 13 h 96"/>
                  <a:gd name="T42" fmla="*/ 20 w 96"/>
                  <a:gd name="T43" fmla="*/ 29 h 96"/>
                  <a:gd name="T44" fmla="*/ 17 w 96"/>
                  <a:gd name="T45" fmla="*/ 42 h 96"/>
                  <a:gd name="T46" fmla="*/ 4 w 96"/>
                  <a:gd name="T47" fmla="*/ 44 h 96"/>
                  <a:gd name="T48" fmla="*/ 15 w 96"/>
                  <a:gd name="T49" fmla="*/ 52 h 96"/>
                  <a:gd name="T50" fmla="*/ 21 w 96"/>
                  <a:gd name="T51" fmla="*/ 65 h 96"/>
                  <a:gd name="T52" fmla="*/ 13 w 96"/>
                  <a:gd name="T53" fmla="*/ 75 h 96"/>
                  <a:gd name="T54" fmla="*/ 29 w 96"/>
                  <a:gd name="T55" fmla="*/ 76 h 96"/>
                  <a:gd name="T56" fmla="*/ 42 w 96"/>
                  <a:gd name="T57" fmla="*/ 79 h 96"/>
                  <a:gd name="T58" fmla="*/ 44 w 96"/>
                  <a:gd name="T59" fmla="*/ 92 h 96"/>
                  <a:gd name="T60" fmla="*/ 52 w 96"/>
                  <a:gd name="T61" fmla="*/ 81 h 96"/>
                  <a:gd name="T62" fmla="*/ 65 w 96"/>
                  <a:gd name="T63" fmla="*/ 75 h 96"/>
                  <a:gd name="T64" fmla="*/ 75 w 96"/>
                  <a:gd name="T65" fmla="*/ 83 h 96"/>
                  <a:gd name="T66" fmla="*/ 76 w 96"/>
                  <a:gd name="T67" fmla="*/ 67 h 96"/>
                  <a:gd name="T68" fmla="*/ 79 w 96"/>
                  <a:gd name="T69" fmla="*/ 54 h 96"/>
                  <a:gd name="T70" fmla="*/ 92 w 96"/>
                  <a:gd name="T71" fmla="*/ 52 h 96"/>
                  <a:gd name="T72" fmla="*/ 81 w 96"/>
                  <a:gd name="T73" fmla="*/ 44 h 96"/>
                  <a:gd name="T74" fmla="*/ 77 w 96"/>
                  <a:gd name="T75" fmla="*/ 36 h 96"/>
                  <a:gd name="T76" fmla="*/ 81 w 96"/>
                  <a:gd name="T77" fmla="*/ 34 h 96"/>
                  <a:gd name="T78" fmla="*/ 94 w 96"/>
                  <a:gd name="T79" fmla="*/ 40 h 96"/>
                  <a:gd name="T80" fmla="*/ 96 w 96"/>
                  <a:gd name="T81" fmla="*/ 54 h 96"/>
                  <a:gd name="T82" fmla="*/ 83 w 96"/>
                  <a:gd name="T83" fmla="*/ 56 h 96"/>
                  <a:gd name="T84" fmla="*/ 88 w 96"/>
                  <a:gd name="T85" fmla="*/ 73 h 96"/>
                  <a:gd name="T86" fmla="*/ 76 w 96"/>
                  <a:gd name="T87" fmla="*/ 88 h 96"/>
                  <a:gd name="T88" fmla="*/ 65 w 96"/>
                  <a:gd name="T89" fmla="*/ 79 h 96"/>
                  <a:gd name="T90" fmla="*/ 56 w 96"/>
                  <a:gd name="T91" fmla="*/ 9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6" h="96">
                    <a:moveTo>
                      <a:pt x="54" y="96"/>
                    </a:moveTo>
                    <a:cubicBezTo>
                      <a:pt x="42" y="96"/>
                      <a:pt x="42" y="96"/>
                      <a:pt x="42" y="96"/>
                    </a:cubicBezTo>
                    <a:cubicBezTo>
                      <a:pt x="41" y="96"/>
                      <a:pt x="40" y="95"/>
                      <a:pt x="40" y="94"/>
                    </a:cubicBezTo>
                    <a:cubicBezTo>
                      <a:pt x="40" y="83"/>
                      <a:pt x="40" y="83"/>
                      <a:pt x="40" y="83"/>
                    </a:cubicBezTo>
                    <a:cubicBezTo>
                      <a:pt x="37" y="82"/>
                      <a:pt x="33" y="81"/>
                      <a:pt x="31" y="79"/>
                    </a:cubicBezTo>
                    <a:cubicBezTo>
                      <a:pt x="23" y="88"/>
                      <a:pt x="23" y="88"/>
                      <a:pt x="23" y="88"/>
                    </a:cubicBezTo>
                    <a:cubicBezTo>
                      <a:pt x="22" y="88"/>
                      <a:pt x="20" y="88"/>
                      <a:pt x="20" y="88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8" y="76"/>
                      <a:pt x="8" y="75"/>
                      <a:pt x="8" y="75"/>
                    </a:cubicBezTo>
                    <a:cubicBezTo>
                      <a:pt x="8" y="74"/>
                      <a:pt x="8" y="74"/>
                      <a:pt x="8" y="73"/>
                    </a:cubicBezTo>
                    <a:cubicBezTo>
                      <a:pt x="17" y="65"/>
                      <a:pt x="17" y="65"/>
                      <a:pt x="17" y="65"/>
                    </a:cubicBezTo>
                    <a:cubicBezTo>
                      <a:pt x="15" y="63"/>
                      <a:pt x="14" y="59"/>
                      <a:pt x="13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1"/>
                      <a:pt x="1" y="40"/>
                      <a:pt x="2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4" y="37"/>
                      <a:pt x="15" y="33"/>
                      <a:pt x="17" y="31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1"/>
                      <a:pt x="8" y="20"/>
                      <a:pt x="8" y="2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33" y="15"/>
                      <a:pt x="37" y="14"/>
                      <a:pt x="40" y="13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1"/>
                      <a:pt x="41" y="0"/>
                      <a:pt x="42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5" y="0"/>
                      <a:pt x="56" y="1"/>
                      <a:pt x="56" y="2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60" y="14"/>
                      <a:pt x="64" y="16"/>
                      <a:pt x="67" y="17"/>
                    </a:cubicBezTo>
                    <a:cubicBezTo>
                      <a:pt x="68" y="18"/>
                      <a:pt x="68" y="19"/>
                      <a:pt x="67" y="20"/>
                    </a:cubicBezTo>
                    <a:cubicBezTo>
                      <a:pt x="67" y="21"/>
                      <a:pt x="66" y="21"/>
                      <a:pt x="65" y="21"/>
                    </a:cubicBezTo>
                    <a:cubicBezTo>
                      <a:pt x="62" y="19"/>
                      <a:pt x="57" y="18"/>
                      <a:pt x="54" y="17"/>
                    </a:cubicBezTo>
                    <a:cubicBezTo>
                      <a:pt x="53" y="17"/>
                      <a:pt x="52" y="16"/>
                      <a:pt x="52" y="15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6"/>
                      <a:pt x="43" y="17"/>
                      <a:pt x="42" y="17"/>
                    </a:cubicBezTo>
                    <a:cubicBezTo>
                      <a:pt x="39" y="18"/>
                      <a:pt x="34" y="19"/>
                      <a:pt x="31" y="21"/>
                    </a:cubicBezTo>
                    <a:cubicBezTo>
                      <a:pt x="31" y="21"/>
                      <a:pt x="30" y="21"/>
                      <a:pt x="29" y="2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20" y="29"/>
                      <a:pt x="20" y="29"/>
                      <a:pt x="20" y="29"/>
                    </a:cubicBezTo>
                    <a:cubicBezTo>
                      <a:pt x="21" y="30"/>
                      <a:pt x="21" y="31"/>
                      <a:pt x="21" y="31"/>
                    </a:cubicBezTo>
                    <a:cubicBezTo>
                      <a:pt x="19" y="34"/>
                      <a:pt x="17" y="40"/>
                      <a:pt x="17" y="42"/>
                    </a:cubicBezTo>
                    <a:cubicBezTo>
                      <a:pt x="17" y="43"/>
                      <a:pt x="16" y="44"/>
                      <a:pt x="15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6" y="52"/>
                      <a:pt x="17" y="53"/>
                      <a:pt x="17" y="54"/>
                    </a:cubicBezTo>
                    <a:cubicBezTo>
                      <a:pt x="17" y="56"/>
                      <a:pt x="19" y="62"/>
                      <a:pt x="21" y="65"/>
                    </a:cubicBezTo>
                    <a:cubicBezTo>
                      <a:pt x="21" y="65"/>
                      <a:pt x="21" y="66"/>
                      <a:pt x="20" y="67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0" y="75"/>
                      <a:pt x="31" y="75"/>
                      <a:pt x="31" y="75"/>
                    </a:cubicBezTo>
                    <a:cubicBezTo>
                      <a:pt x="34" y="77"/>
                      <a:pt x="40" y="79"/>
                      <a:pt x="42" y="79"/>
                    </a:cubicBezTo>
                    <a:cubicBezTo>
                      <a:pt x="43" y="79"/>
                      <a:pt x="44" y="80"/>
                      <a:pt x="44" y="81"/>
                    </a:cubicBezTo>
                    <a:cubicBezTo>
                      <a:pt x="44" y="92"/>
                      <a:pt x="44" y="92"/>
                      <a:pt x="44" y="92"/>
                    </a:cubicBezTo>
                    <a:cubicBezTo>
                      <a:pt x="52" y="92"/>
                      <a:pt x="52" y="92"/>
                      <a:pt x="52" y="92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2" y="80"/>
                      <a:pt x="53" y="79"/>
                      <a:pt x="54" y="79"/>
                    </a:cubicBezTo>
                    <a:cubicBezTo>
                      <a:pt x="56" y="79"/>
                      <a:pt x="62" y="77"/>
                      <a:pt x="65" y="75"/>
                    </a:cubicBezTo>
                    <a:cubicBezTo>
                      <a:pt x="65" y="75"/>
                      <a:pt x="66" y="75"/>
                      <a:pt x="67" y="76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83" y="75"/>
                      <a:pt x="83" y="75"/>
                      <a:pt x="83" y="75"/>
                    </a:cubicBezTo>
                    <a:cubicBezTo>
                      <a:pt x="76" y="67"/>
                      <a:pt x="76" y="67"/>
                      <a:pt x="76" y="67"/>
                    </a:cubicBezTo>
                    <a:cubicBezTo>
                      <a:pt x="75" y="66"/>
                      <a:pt x="75" y="65"/>
                      <a:pt x="75" y="65"/>
                    </a:cubicBezTo>
                    <a:cubicBezTo>
                      <a:pt x="77" y="62"/>
                      <a:pt x="79" y="56"/>
                      <a:pt x="79" y="54"/>
                    </a:cubicBezTo>
                    <a:cubicBezTo>
                      <a:pt x="79" y="53"/>
                      <a:pt x="80" y="52"/>
                      <a:pt x="81" y="52"/>
                    </a:cubicBezTo>
                    <a:cubicBezTo>
                      <a:pt x="92" y="52"/>
                      <a:pt x="92" y="52"/>
                      <a:pt x="92" y="52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0" y="44"/>
                      <a:pt x="79" y="43"/>
                      <a:pt x="79" y="42"/>
                    </a:cubicBezTo>
                    <a:cubicBezTo>
                      <a:pt x="79" y="41"/>
                      <a:pt x="78" y="38"/>
                      <a:pt x="77" y="36"/>
                    </a:cubicBezTo>
                    <a:cubicBezTo>
                      <a:pt x="77" y="35"/>
                      <a:pt x="77" y="33"/>
                      <a:pt x="78" y="33"/>
                    </a:cubicBezTo>
                    <a:cubicBezTo>
                      <a:pt x="79" y="33"/>
                      <a:pt x="81" y="33"/>
                      <a:pt x="81" y="34"/>
                    </a:cubicBezTo>
                    <a:cubicBezTo>
                      <a:pt x="82" y="36"/>
                      <a:pt x="82" y="38"/>
                      <a:pt x="83" y="40"/>
                    </a:cubicBezTo>
                    <a:cubicBezTo>
                      <a:pt x="94" y="40"/>
                      <a:pt x="94" y="40"/>
                      <a:pt x="94" y="40"/>
                    </a:cubicBezTo>
                    <a:cubicBezTo>
                      <a:pt x="95" y="40"/>
                      <a:pt x="96" y="41"/>
                      <a:pt x="96" y="42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5"/>
                      <a:pt x="95" y="56"/>
                      <a:pt x="94" y="56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2" y="59"/>
                      <a:pt x="81" y="63"/>
                      <a:pt x="79" y="65"/>
                    </a:cubicBezTo>
                    <a:cubicBezTo>
                      <a:pt x="88" y="73"/>
                      <a:pt x="88" y="73"/>
                      <a:pt x="88" y="73"/>
                    </a:cubicBezTo>
                    <a:cubicBezTo>
                      <a:pt x="88" y="74"/>
                      <a:pt x="88" y="76"/>
                      <a:pt x="88" y="76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4" y="88"/>
                      <a:pt x="73" y="88"/>
                    </a:cubicBezTo>
                    <a:cubicBezTo>
                      <a:pt x="65" y="79"/>
                      <a:pt x="65" y="79"/>
                      <a:pt x="65" y="79"/>
                    </a:cubicBezTo>
                    <a:cubicBezTo>
                      <a:pt x="63" y="81"/>
                      <a:pt x="59" y="82"/>
                      <a:pt x="56" y="83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95"/>
                      <a:pt x="55" y="96"/>
                      <a:pt x="54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8" name="Freeform 102">
                <a:extLst>
                  <a:ext uri="{FF2B5EF4-FFF2-40B4-BE49-F238E27FC236}">
                    <a16:creationId xmlns:a16="http://schemas.microsoft.com/office/drawing/2014/main" id="{27EB0181-385C-8DD4-AD9D-B4D15A8DB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8701" y="2376488"/>
                <a:ext cx="255588" cy="231775"/>
              </a:xfrm>
              <a:custGeom>
                <a:avLst/>
                <a:gdLst>
                  <a:gd name="T0" fmla="*/ 18 w 66"/>
                  <a:gd name="T1" fmla="*/ 60 h 60"/>
                  <a:gd name="T2" fmla="*/ 17 w 66"/>
                  <a:gd name="T3" fmla="*/ 59 h 60"/>
                  <a:gd name="T4" fmla="*/ 1 w 66"/>
                  <a:gd name="T5" fmla="*/ 41 h 60"/>
                  <a:gd name="T6" fmla="*/ 1 w 66"/>
                  <a:gd name="T7" fmla="*/ 39 h 60"/>
                  <a:gd name="T8" fmla="*/ 3 w 66"/>
                  <a:gd name="T9" fmla="*/ 39 h 60"/>
                  <a:gd name="T10" fmla="*/ 18 w 66"/>
                  <a:gd name="T11" fmla="*/ 55 h 60"/>
                  <a:gd name="T12" fmla="*/ 62 w 66"/>
                  <a:gd name="T13" fmla="*/ 1 h 60"/>
                  <a:gd name="T14" fmla="*/ 65 w 66"/>
                  <a:gd name="T15" fmla="*/ 0 h 60"/>
                  <a:gd name="T16" fmla="*/ 66 w 66"/>
                  <a:gd name="T17" fmla="*/ 3 h 60"/>
                  <a:gd name="T18" fmla="*/ 20 w 66"/>
                  <a:gd name="T19" fmla="*/ 59 h 60"/>
                  <a:gd name="T20" fmla="*/ 18 w 66"/>
                  <a:gd name="T21" fmla="*/ 60 h 60"/>
                  <a:gd name="T22" fmla="*/ 18 w 66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60">
                    <a:moveTo>
                      <a:pt x="18" y="60"/>
                    </a:moveTo>
                    <a:cubicBezTo>
                      <a:pt x="17" y="60"/>
                      <a:pt x="17" y="60"/>
                      <a:pt x="17" y="59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1"/>
                      <a:pt x="0" y="39"/>
                      <a:pt x="1" y="39"/>
                    </a:cubicBezTo>
                    <a:cubicBezTo>
                      <a:pt x="1" y="38"/>
                      <a:pt x="3" y="38"/>
                      <a:pt x="3" y="39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3" y="0"/>
                      <a:pt x="64" y="0"/>
                      <a:pt x="65" y="0"/>
                    </a:cubicBezTo>
                    <a:cubicBezTo>
                      <a:pt x="66" y="1"/>
                      <a:pt x="66" y="2"/>
                      <a:pt x="66" y="3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19" y="60"/>
                      <a:pt x="19" y="60"/>
                      <a:pt x="18" y="60"/>
                    </a:cubicBezTo>
                    <a:cubicBezTo>
                      <a:pt x="18" y="60"/>
                      <a:pt x="18" y="60"/>
                      <a:pt x="1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pic>
        <p:nvPicPr>
          <p:cNvPr id="99" name="Picture 98">
            <a:extLst>
              <a:ext uri="{FF2B5EF4-FFF2-40B4-BE49-F238E27FC236}">
                <a16:creationId xmlns:a16="http://schemas.microsoft.com/office/drawing/2014/main" id="{ED345F79-6235-902B-9738-7D808A062C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0" y="86061"/>
            <a:ext cx="1159268" cy="1159824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18B98E29-95CE-DAB3-0D6D-6738C9BCC1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624" y="86061"/>
            <a:ext cx="1353676" cy="1159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101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View">
  <a:themeElements>
    <a:clrScheme name="View">
      <a:dk1>
        <a:srgbClr val="000000"/>
      </a:dk1>
      <a:lt1>
        <a:srgbClr val="FFFFFF"/>
      </a:lt1>
      <a:dk2>
        <a:srgbClr val="46464A"/>
      </a:dk2>
      <a:lt2>
        <a:srgbClr val="D6D3CC"/>
      </a:lt2>
      <a:accent1>
        <a:srgbClr val="6F6F74"/>
      </a:accent1>
      <a:accent2>
        <a:srgbClr val="92A9B9"/>
      </a:accent2>
      <a:accent3>
        <a:srgbClr val="A7B789"/>
      </a:accent3>
      <a:accent4>
        <a:srgbClr val="B9A489"/>
      </a:accent4>
      <a:accent5>
        <a:srgbClr val="8D6374"/>
      </a:accent5>
      <a:accent6>
        <a:srgbClr val="9B7362"/>
      </a:accent6>
      <a:hlink>
        <a:srgbClr val="67AABF"/>
      </a:hlink>
      <a:folHlink>
        <a:srgbClr val="ABAFA5"/>
      </a:folHlink>
    </a:clrScheme>
    <a:fontScheme name="View">
      <a:maj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Schoolbook" panose="020406040505050203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View">
      <a:fillStyleLst>
        <a:solidFill>
          <a:schemeClr val="phClr"/>
        </a:solidFill>
        <a:solidFill>
          <a:schemeClr val="phClr">
            <a:tint val="60000"/>
            <a:satMod val="120000"/>
          </a:schemeClr>
        </a:solidFill>
        <a:solidFill>
          <a:schemeClr val="phClr">
            <a:shade val="75000"/>
            <a:satMod val="16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3970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95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240" dir="5400000" algn="tl" rotWithShape="0">
              <a:srgbClr val="000000">
                <a:alpha val="7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9525" prstMaterial="flat">
            <a:bevelT w="0" h="0" prst="coolSlant"/>
            <a:contourClr>
              <a:schemeClr val="phClr">
                <a:shade val="35000"/>
                <a:satMod val="130000"/>
              </a:schemeClr>
            </a:contourClr>
          </a:sp3d>
        </a:effectStyle>
        <a:effectStyle>
          <a:effectLst>
            <a:outerShdw blurRad="76200" dist="25400" dir="5400000" algn="tl" rotWithShape="0">
              <a:srgbClr val="000000">
                <a:alpha val="5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9050" prstMaterial="flat">
            <a:bevelT w="0" h="0" prst="coolSlant"/>
            <a:contourClr>
              <a:schemeClr val="phClr">
                <a:shade val="25000"/>
                <a:satMod val="14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4000"/>
                <a:shade val="98000"/>
                <a:satMod val="130000"/>
                <a:lumMod val="102000"/>
              </a:schemeClr>
            </a:gs>
            <a:gs pos="100000">
              <a:schemeClr val="phClr">
                <a:tint val="98000"/>
                <a:shade val="78000"/>
                <a:satMod val="14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w" id="{BA0EB5A6-F2D4-4F82-977B-64ADEE4A2A69}" vid="{3969A8A2-35DB-4E3B-8885-16FD20568674}"/>
    </a:ext>
  </a:extLst>
</a:theme>
</file>

<file path=ppt/theme/theme2.xml><?xml version="1.0" encoding="utf-8"?>
<a:theme xmlns:a="http://schemas.openxmlformats.org/drawingml/2006/main" name="Technology Infographics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515[[fn=View]]</Template>
  <TotalTime>346</TotalTime>
  <Words>723</Words>
  <Application>Microsoft Office PowerPoint</Application>
  <PresentationFormat>Widescreen</PresentationFormat>
  <Paragraphs>127</Paragraphs>
  <Slides>1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Century Schoolbook</vt:lpstr>
      <vt:lpstr>Fira Sans</vt:lpstr>
      <vt:lpstr>Fira Sans Medium</vt:lpstr>
      <vt:lpstr>Fira Sans SemiBold</vt:lpstr>
      <vt:lpstr>Segoe UI</vt:lpstr>
      <vt:lpstr>Wingdings 2</vt:lpstr>
      <vt:lpstr>View</vt:lpstr>
      <vt:lpstr>Technology Infographics by Slidesgo</vt:lpstr>
      <vt:lpstr>Building a GTM Plan: MH Complete and MH Complete Plus into Nordic market</vt:lpstr>
      <vt:lpstr>Company Intro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a GTM Plan: MH Complete and MH Complete Plus into Nordic market</dc:title>
  <dc:creator>Shalin Sura</dc:creator>
  <cp:lastModifiedBy>yashas kin</cp:lastModifiedBy>
  <cp:revision>9</cp:revision>
  <dcterms:created xsi:type="dcterms:W3CDTF">2023-08-22T19:15:19Z</dcterms:created>
  <dcterms:modified xsi:type="dcterms:W3CDTF">2024-05-09T12:57:35Z</dcterms:modified>
</cp:coreProperties>
</file>